
<file path=[Content_Types].xml><?xml version="1.0" encoding="utf-8"?>
<Types xmlns="http://schemas.openxmlformats.org/package/2006/content-types"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6" r:id="rId2"/>
    <p:sldId id="267" r:id="rId3"/>
    <p:sldId id="271" r:id="rId4"/>
    <p:sldId id="272" r:id="rId5"/>
    <p:sldId id="273" r:id="rId6"/>
    <p:sldId id="274" r:id="rId7"/>
    <p:sldId id="262" r:id="rId8"/>
    <p:sldId id="263" r:id="rId9"/>
    <p:sldId id="264" r:id="rId10"/>
    <p:sldId id="265" r:id="rId11"/>
    <p:sldId id="268" r:id="rId12"/>
    <p:sldId id="270" r:id="rId13"/>
    <p:sldId id="26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 HERE #1" id="{C6A48C76-B5FB-4205-B3F8-CCD9F9854A7B}">
          <p14:sldIdLst>
            <p14:sldId id="266"/>
            <p14:sldId id="267"/>
          </p14:sldIdLst>
        </p14:section>
        <p14:section name="WORK HERE #2" id="{3714EC47-0E12-4BE6-8024-C8B1DD843D6B}">
          <p14:sldIdLst>
            <p14:sldId id="271"/>
            <p14:sldId id="272"/>
          </p14:sldIdLst>
        </p14:section>
        <p14:section name="WORK HERE #3" id="{27F667FA-7C5E-4022-ABFC-EDECD65B53E9}">
          <p14:sldIdLst>
            <p14:sldId id="273"/>
            <p14:sldId id="274"/>
          </p14:sldIdLst>
        </p14:section>
        <p14:section name="Transition #1 - Cards" id="{90DEC9C0-9CE5-4BD1-90F9-81FC06834B7E}">
          <p14:sldIdLst>
            <p14:sldId id="262"/>
            <p14:sldId id="263"/>
          </p14:sldIdLst>
        </p14:section>
        <p14:section name="Transition #2 - Items" id="{9E13F94F-9980-4040-9263-9A7B6939A6EC}">
          <p14:sldIdLst>
            <p14:sldId id="264"/>
            <p14:sldId id="265"/>
          </p14:sldIdLst>
        </p14:section>
        <p14:section name="Transition #3 - Morph" id="{509751B2-B732-4F93-ABFE-224146CFD76F}">
          <p14:sldIdLst>
            <p14:sldId id="268"/>
            <p14:sldId id="270"/>
            <p14:sldId id="26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84" autoAdjust="0"/>
    <p:restoredTop sz="94660"/>
  </p:normalViewPr>
  <p:slideViewPr>
    <p:cSldViewPr snapToGrid="0">
      <p:cViewPr>
        <p:scale>
          <a:sx n="33" d="100"/>
          <a:sy n="33" d="100"/>
        </p:scale>
        <p:origin x="2765" y="181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customXml" Target="../customXml/item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BD924B-88F7-44A1-9F23-BB0A0C9158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896037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2B14F45-3221-BFE4-74F0-89B0FE3CD83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7138009" cy="2582952"/>
          </a:xfrm>
          <a:custGeom>
            <a:avLst/>
            <a:gdLst>
              <a:gd name="connsiteX0" fmla="*/ 0 w 7138009"/>
              <a:gd name="connsiteY0" fmla="*/ 0 h 2582952"/>
              <a:gd name="connsiteX1" fmla="*/ 7138009 w 7138009"/>
              <a:gd name="connsiteY1" fmla="*/ 0 h 2582952"/>
              <a:gd name="connsiteX2" fmla="*/ 7138009 w 7138009"/>
              <a:gd name="connsiteY2" fmla="*/ 2152450 h 2582952"/>
              <a:gd name="connsiteX3" fmla="*/ 6707507 w 7138009"/>
              <a:gd name="connsiteY3" fmla="*/ 2582952 h 2582952"/>
              <a:gd name="connsiteX4" fmla="*/ 0 w 7138009"/>
              <a:gd name="connsiteY4" fmla="*/ 2582952 h 2582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8009" h="2582952">
                <a:moveTo>
                  <a:pt x="0" y="0"/>
                </a:moveTo>
                <a:lnTo>
                  <a:pt x="7138009" y="0"/>
                </a:lnTo>
                <a:lnTo>
                  <a:pt x="7138009" y="2152450"/>
                </a:lnTo>
                <a:lnTo>
                  <a:pt x="6707507" y="2582952"/>
                </a:lnTo>
                <a:lnTo>
                  <a:pt x="0" y="2582952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36293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2798E6-41A4-09CE-16F1-62FB77B2DD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4396739"/>
          </a:xfrm>
          <a:custGeom>
            <a:avLst/>
            <a:gdLst>
              <a:gd name="connsiteX0" fmla="*/ 0 w 12192000"/>
              <a:gd name="connsiteY0" fmla="*/ 0 h 4396739"/>
              <a:gd name="connsiteX1" fmla="*/ 12192000 w 12192000"/>
              <a:gd name="connsiteY1" fmla="*/ 0 h 4396739"/>
              <a:gd name="connsiteX2" fmla="*/ 12192000 w 12192000"/>
              <a:gd name="connsiteY2" fmla="*/ 4396739 h 4396739"/>
              <a:gd name="connsiteX3" fmla="*/ 0 w 12192000"/>
              <a:gd name="connsiteY3" fmla="*/ 4396739 h 4396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396739">
                <a:moveTo>
                  <a:pt x="0" y="0"/>
                </a:moveTo>
                <a:lnTo>
                  <a:pt x="12192000" y="0"/>
                </a:lnTo>
                <a:lnTo>
                  <a:pt x="12192000" y="4396739"/>
                </a:lnTo>
                <a:lnTo>
                  <a:pt x="0" y="4396739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48761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A94444B-4293-13C4-E6AF-2A799B2AF7C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16042" y="1"/>
            <a:ext cx="6575958" cy="5981700"/>
          </a:xfrm>
          <a:custGeom>
            <a:avLst/>
            <a:gdLst>
              <a:gd name="connsiteX0" fmla="*/ 590036 w 6575958"/>
              <a:gd name="connsiteY0" fmla="*/ 0 h 5981700"/>
              <a:gd name="connsiteX1" fmla="*/ 6575958 w 6575958"/>
              <a:gd name="connsiteY1" fmla="*/ 0 h 5981700"/>
              <a:gd name="connsiteX2" fmla="*/ 6575958 w 6575958"/>
              <a:gd name="connsiteY2" fmla="*/ 5981700 h 5981700"/>
              <a:gd name="connsiteX3" fmla="*/ 2990850 w 6575958"/>
              <a:gd name="connsiteY3" fmla="*/ 5981700 h 5981700"/>
              <a:gd name="connsiteX4" fmla="*/ 0 w 6575958"/>
              <a:gd name="connsiteY4" fmla="*/ 2990850 h 5981700"/>
              <a:gd name="connsiteX5" fmla="*/ 0 w 6575958"/>
              <a:gd name="connsiteY5" fmla="*/ 590035 h 598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75958" h="5981700">
                <a:moveTo>
                  <a:pt x="590036" y="0"/>
                </a:moveTo>
                <a:lnTo>
                  <a:pt x="6575958" y="0"/>
                </a:lnTo>
                <a:lnTo>
                  <a:pt x="6575958" y="5981700"/>
                </a:lnTo>
                <a:lnTo>
                  <a:pt x="2990850" y="5981700"/>
                </a:lnTo>
                <a:lnTo>
                  <a:pt x="0" y="2990850"/>
                </a:lnTo>
                <a:lnTo>
                  <a:pt x="0" y="590035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831986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3824240-D3AD-B44C-2EF2-D73F435AC3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3429000 h 3429000"/>
              <a:gd name="connsiteX3" fmla="*/ 0 w 12192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E464446-5DEB-D43B-308E-B4112CFB83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6875" y="1713924"/>
            <a:ext cx="3428818" cy="3430152"/>
          </a:xfrm>
          <a:custGeom>
            <a:avLst/>
            <a:gdLst>
              <a:gd name="connsiteX0" fmla="*/ 0 w 3428818"/>
              <a:gd name="connsiteY0" fmla="*/ 0 h 3430152"/>
              <a:gd name="connsiteX1" fmla="*/ 2857337 w 3428818"/>
              <a:gd name="connsiteY1" fmla="*/ 0 h 3430152"/>
              <a:gd name="connsiteX2" fmla="*/ 3428818 w 3428818"/>
              <a:gd name="connsiteY2" fmla="*/ 571481 h 3430152"/>
              <a:gd name="connsiteX3" fmla="*/ 3428818 w 3428818"/>
              <a:gd name="connsiteY3" fmla="*/ 3430152 h 3430152"/>
              <a:gd name="connsiteX4" fmla="*/ 571482 w 3428818"/>
              <a:gd name="connsiteY4" fmla="*/ 3430152 h 3430152"/>
              <a:gd name="connsiteX5" fmla="*/ 0 w 3428818"/>
              <a:gd name="connsiteY5" fmla="*/ 2858671 h 3430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28818" h="3430152">
                <a:moveTo>
                  <a:pt x="0" y="0"/>
                </a:moveTo>
                <a:lnTo>
                  <a:pt x="2857337" y="0"/>
                </a:lnTo>
                <a:lnTo>
                  <a:pt x="3428818" y="571481"/>
                </a:lnTo>
                <a:lnTo>
                  <a:pt x="3428818" y="3430152"/>
                </a:lnTo>
                <a:lnTo>
                  <a:pt x="571482" y="3430152"/>
                </a:lnTo>
                <a:lnTo>
                  <a:pt x="0" y="28586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7375B46-5F6B-2351-1592-EE7F2E6696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18562" y="1713924"/>
            <a:ext cx="3428818" cy="3430152"/>
          </a:xfrm>
          <a:custGeom>
            <a:avLst/>
            <a:gdLst>
              <a:gd name="connsiteX0" fmla="*/ 0 w 3428818"/>
              <a:gd name="connsiteY0" fmla="*/ 0 h 3430152"/>
              <a:gd name="connsiteX1" fmla="*/ 2857337 w 3428818"/>
              <a:gd name="connsiteY1" fmla="*/ 0 h 3430152"/>
              <a:gd name="connsiteX2" fmla="*/ 3428818 w 3428818"/>
              <a:gd name="connsiteY2" fmla="*/ 571481 h 3430152"/>
              <a:gd name="connsiteX3" fmla="*/ 3428818 w 3428818"/>
              <a:gd name="connsiteY3" fmla="*/ 3430152 h 3430152"/>
              <a:gd name="connsiteX4" fmla="*/ 571482 w 3428818"/>
              <a:gd name="connsiteY4" fmla="*/ 3430152 h 3430152"/>
              <a:gd name="connsiteX5" fmla="*/ 0 w 3428818"/>
              <a:gd name="connsiteY5" fmla="*/ 2858671 h 3430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28818" h="3430152">
                <a:moveTo>
                  <a:pt x="0" y="0"/>
                </a:moveTo>
                <a:lnTo>
                  <a:pt x="2857337" y="0"/>
                </a:lnTo>
                <a:lnTo>
                  <a:pt x="3428818" y="571481"/>
                </a:lnTo>
                <a:lnTo>
                  <a:pt x="3428818" y="3430152"/>
                </a:lnTo>
                <a:lnTo>
                  <a:pt x="571482" y="3430152"/>
                </a:lnTo>
                <a:lnTo>
                  <a:pt x="0" y="28586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110789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6B61860-FDDC-3034-1C9E-C3A1E68206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1" y="571500"/>
            <a:ext cx="3516313" cy="1931988"/>
          </a:xfrm>
          <a:custGeom>
            <a:avLst/>
            <a:gdLst>
              <a:gd name="connsiteX0" fmla="*/ 0 w 3516313"/>
              <a:gd name="connsiteY0" fmla="*/ 0 h 1931988"/>
              <a:gd name="connsiteX1" fmla="*/ 3516313 w 3516313"/>
              <a:gd name="connsiteY1" fmla="*/ 0 h 1931988"/>
              <a:gd name="connsiteX2" fmla="*/ 3516313 w 3516313"/>
              <a:gd name="connsiteY2" fmla="*/ 1931988 h 1931988"/>
              <a:gd name="connsiteX3" fmla="*/ 0 w 3516313"/>
              <a:gd name="connsiteY3" fmla="*/ 1931988 h 193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16313" h="1931988">
                <a:moveTo>
                  <a:pt x="0" y="0"/>
                </a:moveTo>
                <a:lnTo>
                  <a:pt x="3516313" y="0"/>
                </a:lnTo>
                <a:lnTo>
                  <a:pt x="3516313" y="1931988"/>
                </a:lnTo>
                <a:lnTo>
                  <a:pt x="0" y="19319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ID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5A45F40-1BA0-5142-7562-0738CA4CC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38637" y="571500"/>
            <a:ext cx="3516313" cy="3581400"/>
          </a:xfrm>
          <a:custGeom>
            <a:avLst/>
            <a:gdLst>
              <a:gd name="connsiteX0" fmla="*/ 0 w 3516313"/>
              <a:gd name="connsiteY0" fmla="*/ 0 h 1931988"/>
              <a:gd name="connsiteX1" fmla="*/ 3516313 w 3516313"/>
              <a:gd name="connsiteY1" fmla="*/ 0 h 1931988"/>
              <a:gd name="connsiteX2" fmla="*/ 3516313 w 3516313"/>
              <a:gd name="connsiteY2" fmla="*/ 1931988 h 1931988"/>
              <a:gd name="connsiteX3" fmla="*/ 0 w 3516313"/>
              <a:gd name="connsiteY3" fmla="*/ 1931988 h 193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16313" h="1931988">
                <a:moveTo>
                  <a:pt x="0" y="0"/>
                </a:moveTo>
                <a:lnTo>
                  <a:pt x="3516313" y="0"/>
                </a:lnTo>
                <a:lnTo>
                  <a:pt x="3516313" y="1931988"/>
                </a:lnTo>
                <a:lnTo>
                  <a:pt x="0" y="19319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7F9EBEB-84E7-04F0-3CE6-3B1FBFF171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66087" y="571500"/>
            <a:ext cx="3516313" cy="1931988"/>
          </a:xfrm>
          <a:custGeom>
            <a:avLst/>
            <a:gdLst>
              <a:gd name="connsiteX0" fmla="*/ 0 w 3516313"/>
              <a:gd name="connsiteY0" fmla="*/ 0 h 1931988"/>
              <a:gd name="connsiteX1" fmla="*/ 3516313 w 3516313"/>
              <a:gd name="connsiteY1" fmla="*/ 0 h 1931988"/>
              <a:gd name="connsiteX2" fmla="*/ 3516313 w 3516313"/>
              <a:gd name="connsiteY2" fmla="*/ 1931988 h 1931988"/>
              <a:gd name="connsiteX3" fmla="*/ 0 w 3516313"/>
              <a:gd name="connsiteY3" fmla="*/ 1931988 h 193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16313" h="1931988">
                <a:moveTo>
                  <a:pt x="0" y="0"/>
                </a:moveTo>
                <a:lnTo>
                  <a:pt x="3516313" y="0"/>
                </a:lnTo>
                <a:lnTo>
                  <a:pt x="3516313" y="1931988"/>
                </a:lnTo>
                <a:lnTo>
                  <a:pt x="0" y="19319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C8A7F29-D84B-48D0-7816-855D46D6EE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6087" y="2705100"/>
            <a:ext cx="3516313" cy="3581400"/>
          </a:xfrm>
          <a:custGeom>
            <a:avLst/>
            <a:gdLst>
              <a:gd name="connsiteX0" fmla="*/ 0 w 3516313"/>
              <a:gd name="connsiteY0" fmla="*/ 0 h 1931988"/>
              <a:gd name="connsiteX1" fmla="*/ 3516313 w 3516313"/>
              <a:gd name="connsiteY1" fmla="*/ 0 h 1931988"/>
              <a:gd name="connsiteX2" fmla="*/ 3516313 w 3516313"/>
              <a:gd name="connsiteY2" fmla="*/ 1931988 h 1931988"/>
              <a:gd name="connsiteX3" fmla="*/ 0 w 3516313"/>
              <a:gd name="connsiteY3" fmla="*/ 1931988 h 193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16313" h="1931988">
                <a:moveTo>
                  <a:pt x="0" y="0"/>
                </a:moveTo>
                <a:lnTo>
                  <a:pt x="3516313" y="0"/>
                </a:lnTo>
                <a:lnTo>
                  <a:pt x="3516313" y="1931988"/>
                </a:lnTo>
                <a:lnTo>
                  <a:pt x="0" y="19319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D5E4336-829B-ADDE-58DD-0B8DA7C640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" y="2705100"/>
            <a:ext cx="3516313" cy="3581400"/>
          </a:xfrm>
          <a:custGeom>
            <a:avLst/>
            <a:gdLst>
              <a:gd name="connsiteX0" fmla="*/ 0 w 3516313"/>
              <a:gd name="connsiteY0" fmla="*/ 0 h 1931988"/>
              <a:gd name="connsiteX1" fmla="*/ 3516313 w 3516313"/>
              <a:gd name="connsiteY1" fmla="*/ 0 h 1931988"/>
              <a:gd name="connsiteX2" fmla="*/ 3516313 w 3516313"/>
              <a:gd name="connsiteY2" fmla="*/ 1931988 h 1931988"/>
              <a:gd name="connsiteX3" fmla="*/ 0 w 3516313"/>
              <a:gd name="connsiteY3" fmla="*/ 1931988 h 193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16313" h="1931988">
                <a:moveTo>
                  <a:pt x="0" y="0"/>
                </a:moveTo>
                <a:lnTo>
                  <a:pt x="3516313" y="0"/>
                </a:lnTo>
                <a:lnTo>
                  <a:pt x="3516313" y="1931988"/>
                </a:lnTo>
                <a:lnTo>
                  <a:pt x="0" y="19319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D8652EA-9411-FBAA-2170-1E00D63FF74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8637" y="4362450"/>
            <a:ext cx="3516313" cy="1924050"/>
          </a:xfrm>
          <a:custGeom>
            <a:avLst/>
            <a:gdLst>
              <a:gd name="connsiteX0" fmla="*/ 0 w 3516313"/>
              <a:gd name="connsiteY0" fmla="*/ 0 h 1931988"/>
              <a:gd name="connsiteX1" fmla="*/ 3516313 w 3516313"/>
              <a:gd name="connsiteY1" fmla="*/ 0 h 1931988"/>
              <a:gd name="connsiteX2" fmla="*/ 3516313 w 3516313"/>
              <a:gd name="connsiteY2" fmla="*/ 1931988 h 1931988"/>
              <a:gd name="connsiteX3" fmla="*/ 0 w 3516313"/>
              <a:gd name="connsiteY3" fmla="*/ 1931988 h 193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16313" h="1931988">
                <a:moveTo>
                  <a:pt x="0" y="0"/>
                </a:moveTo>
                <a:lnTo>
                  <a:pt x="3516313" y="0"/>
                </a:lnTo>
                <a:lnTo>
                  <a:pt x="3516313" y="1931988"/>
                </a:lnTo>
                <a:lnTo>
                  <a:pt x="0" y="19319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2812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ED3EC15-2B62-F661-BAA3-8C2C18E3C67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221BA76-BB4D-BA43-9811-E8B5BAD903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6096000"/>
              <a:gd name="connsiteY0" fmla="*/ 0 h 3429000"/>
              <a:gd name="connsiteX1" fmla="*/ 6096000 w 6096000"/>
              <a:gd name="connsiteY1" fmla="*/ 0 h 3429000"/>
              <a:gd name="connsiteX2" fmla="*/ 6096000 w 6096000"/>
              <a:gd name="connsiteY2" fmla="*/ 3429000 h 3429000"/>
              <a:gd name="connsiteX3" fmla="*/ 0 w 6096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9000">
                <a:moveTo>
                  <a:pt x="0" y="0"/>
                </a:moveTo>
                <a:lnTo>
                  <a:pt x="6096000" y="0"/>
                </a:lnTo>
                <a:lnTo>
                  <a:pt x="6096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361950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EE73CB6-E883-8874-1718-18AD1C77252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9788" y="836614"/>
            <a:ext cx="8532812" cy="5184775"/>
          </a:xfrm>
          <a:custGeom>
            <a:avLst/>
            <a:gdLst>
              <a:gd name="connsiteX0" fmla="*/ 0 w 8532812"/>
              <a:gd name="connsiteY0" fmla="*/ 0 h 5184775"/>
              <a:gd name="connsiteX1" fmla="*/ 7910795 w 8532812"/>
              <a:gd name="connsiteY1" fmla="*/ 0 h 5184775"/>
              <a:gd name="connsiteX2" fmla="*/ 8532812 w 8532812"/>
              <a:gd name="connsiteY2" fmla="*/ 622017 h 5184775"/>
              <a:gd name="connsiteX3" fmla="*/ 8532812 w 8532812"/>
              <a:gd name="connsiteY3" fmla="*/ 5184775 h 5184775"/>
              <a:gd name="connsiteX4" fmla="*/ 0 w 8532812"/>
              <a:gd name="connsiteY4" fmla="*/ 5184775 h 518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32812" h="5184775">
                <a:moveTo>
                  <a:pt x="0" y="0"/>
                </a:moveTo>
                <a:lnTo>
                  <a:pt x="7910795" y="0"/>
                </a:lnTo>
                <a:lnTo>
                  <a:pt x="8532812" y="622017"/>
                </a:lnTo>
                <a:lnTo>
                  <a:pt x="8532812" y="5184775"/>
                </a:lnTo>
                <a:lnTo>
                  <a:pt x="0" y="51847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243829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69099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ustom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289E3F3-F890-807B-92BF-BA61AD0A2951}"/>
              </a:ext>
            </a:extLst>
          </p:cNvPr>
          <p:cNvSpPr txBox="1"/>
          <p:nvPr userDrawn="1"/>
        </p:nvSpPr>
        <p:spPr>
          <a:xfrm>
            <a:off x="11099800" y="6281665"/>
            <a:ext cx="716833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algn="r" defTabSz="914400" rtl="0" eaLnBrk="1" latinLnBrk="0" hangingPunct="1"/>
            <a:fld id="{4449449E-5AE0-413A-898C-4571D01E0173}" type="slidenum">
              <a:rPr lang="en-US" sz="1000" kern="1200" smtClean="0">
                <a:solidFill>
                  <a:schemeClr val="bg1">
                    <a:lumMod val="65000"/>
                  </a:schemeClr>
                </a:solidFill>
                <a:latin typeface="Roboto" panose="02000000000000000000" pitchFamily="2" charset="0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chemeClr val="bg1">
                  <a:lumMod val="65000"/>
                </a:schemeClr>
              </a:solidFill>
              <a:latin typeface="Roboto" panose="02000000000000000000" pitchFamily="2" charset="0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D939760-5F04-3E3C-E856-CD51FAEF613B}"/>
              </a:ext>
            </a:extLst>
          </p:cNvPr>
          <p:cNvGrpSpPr/>
          <p:nvPr userDrawn="1"/>
        </p:nvGrpSpPr>
        <p:grpSpPr>
          <a:xfrm>
            <a:off x="8078838" y="-292072"/>
            <a:ext cx="4513212" cy="3316154"/>
            <a:chOff x="7950200" y="0"/>
            <a:chExt cx="4244346" cy="3118602"/>
          </a:xfrm>
          <a:solidFill>
            <a:schemeClr val="accent6">
              <a:lumMod val="20000"/>
              <a:lumOff val="80000"/>
              <a:alpha val="10000"/>
            </a:schemeClr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B661C958-298E-E3C8-937E-48EB8B04633D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C4BE455-F259-FE28-761F-FB07B469B200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3D1A8CF-DF3D-5784-1061-9611ADA95579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6C30155-CE9A-D26D-4709-8CB5EE1C0431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D5DDECA-66D5-A40C-CE15-8333460537F4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C9299BF-BA2A-9B0C-F37B-7B822E1A3182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D87A708-DC92-1B4F-CAE1-6AA2B7AE0430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2A48F44-EE98-CA06-88D8-7F20A9B87031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4A5432-A985-A652-49C1-F9F67516FEF5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B2476B3-AACE-7BB5-A492-ECBE5993CC0D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CB81E4E-B009-CB38-3939-DC6147F097A3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88762FD-42F4-3068-971C-262BDE69B2AE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1176A6-BAE7-8E48-F95F-F99DF55C4CCE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90BD2F-2729-104E-2507-46924B5C7C95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94E6C4B-4F79-E28A-55C7-E76110B10442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461825D-DFDD-0D7D-9755-A5DC00453189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158038-47BB-FA89-78B5-3735CAFBFF35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7894068-BC98-86A4-9392-610ED15BDBEC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23" name="Graphic 25">
            <a:extLst>
              <a:ext uri="{FF2B5EF4-FFF2-40B4-BE49-F238E27FC236}">
                <a16:creationId xmlns:a16="http://schemas.microsoft.com/office/drawing/2014/main" id="{7EF89439-A642-B3C7-AC3F-CCC40464B4D1}"/>
              </a:ext>
            </a:extLst>
          </p:cNvPr>
          <p:cNvGrpSpPr/>
          <p:nvPr userDrawn="1"/>
        </p:nvGrpSpPr>
        <p:grpSpPr>
          <a:xfrm flipV="1">
            <a:off x="-424755" y="4441367"/>
            <a:ext cx="3536316" cy="2598061"/>
            <a:chOff x="1431668" y="0"/>
            <a:chExt cx="9331210" cy="6855452"/>
          </a:xfrm>
          <a:solidFill>
            <a:schemeClr val="accent6">
              <a:lumMod val="20000"/>
              <a:lumOff val="80000"/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CA8AD5-C009-3BA2-A7B4-C51ED8B00495}"/>
                </a:ext>
              </a:extLst>
            </p:cNvPr>
            <p:cNvSpPr/>
            <p:nvPr/>
          </p:nvSpPr>
          <p:spPr>
            <a:xfrm>
              <a:off x="1431668" y="364231"/>
              <a:ext cx="5301100" cy="2069498"/>
            </a:xfrm>
            <a:custGeom>
              <a:avLst/>
              <a:gdLst>
                <a:gd name="connsiteX0" fmla="*/ 2387883 w 5301100"/>
                <a:gd name="connsiteY0" fmla="*/ 482034 h 2069498"/>
                <a:gd name="connsiteX1" fmla="*/ 2387883 w 5301100"/>
                <a:gd name="connsiteY1" fmla="*/ 1191395 h 2069498"/>
                <a:gd name="connsiteX2" fmla="*/ 3184481 w 5301100"/>
                <a:gd name="connsiteY2" fmla="*/ 1987992 h 2069498"/>
                <a:gd name="connsiteX3" fmla="*/ 5101792 w 5301100"/>
                <a:gd name="connsiteY3" fmla="*/ 1987992 h 2069498"/>
                <a:gd name="connsiteX4" fmla="*/ 5200491 w 5301100"/>
                <a:gd name="connsiteY4" fmla="*/ 2069499 h 2069498"/>
                <a:gd name="connsiteX5" fmla="*/ 5301101 w 5301100"/>
                <a:gd name="connsiteY5" fmla="*/ 1968889 h 2069498"/>
                <a:gd name="connsiteX6" fmla="*/ 5200491 w 5301100"/>
                <a:gd name="connsiteY6" fmla="*/ 1868280 h 2069498"/>
                <a:gd name="connsiteX7" fmla="*/ 5101792 w 5301100"/>
                <a:gd name="connsiteY7" fmla="*/ 1949786 h 2069498"/>
                <a:gd name="connsiteX8" fmla="*/ 3200400 w 5301100"/>
                <a:gd name="connsiteY8" fmla="*/ 1949786 h 2069498"/>
                <a:gd name="connsiteX9" fmla="*/ 2426089 w 5301100"/>
                <a:gd name="connsiteY9" fmla="*/ 1175475 h 2069498"/>
                <a:gd name="connsiteX10" fmla="*/ 2426089 w 5301100"/>
                <a:gd name="connsiteY10" fmla="*/ 466115 h 2069498"/>
                <a:gd name="connsiteX11" fmla="*/ 1959974 w 5301100"/>
                <a:gd name="connsiteY11" fmla="*/ 0 h 2069498"/>
                <a:gd name="connsiteX12" fmla="*/ 0 w 5301100"/>
                <a:gd name="connsiteY12" fmla="*/ 0 h 2069498"/>
                <a:gd name="connsiteX13" fmla="*/ 0 w 5301100"/>
                <a:gd name="connsiteY13" fmla="*/ 38206 h 2069498"/>
                <a:gd name="connsiteX14" fmla="*/ 1944692 w 5301100"/>
                <a:gd name="connsiteY14" fmla="*/ 38206 h 2069498"/>
                <a:gd name="connsiteX15" fmla="*/ 2387883 w 5301100"/>
                <a:gd name="connsiteY15" fmla="*/ 482034 h 206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9498">
                  <a:moveTo>
                    <a:pt x="2387883" y="482034"/>
                  </a:moveTo>
                  <a:lnTo>
                    <a:pt x="2387883" y="1191395"/>
                  </a:lnTo>
                  <a:lnTo>
                    <a:pt x="3184481" y="1987992"/>
                  </a:lnTo>
                  <a:lnTo>
                    <a:pt x="5101792" y="1987992"/>
                  </a:lnTo>
                  <a:cubicBezTo>
                    <a:pt x="5110707" y="2034476"/>
                    <a:pt x="5151460" y="2069499"/>
                    <a:pt x="5200491" y="2069499"/>
                  </a:cubicBezTo>
                  <a:cubicBezTo>
                    <a:pt x="5255890" y="2069499"/>
                    <a:pt x="5301101" y="2024288"/>
                    <a:pt x="5301101" y="1968889"/>
                  </a:cubicBezTo>
                  <a:cubicBezTo>
                    <a:pt x="5301101" y="1913490"/>
                    <a:pt x="5255890" y="1868280"/>
                    <a:pt x="5200491" y="1868280"/>
                  </a:cubicBezTo>
                  <a:cubicBezTo>
                    <a:pt x="5151460" y="1868280"/>
                    <a:pt x="5110707" y="1903302"/>
                    <a:pt x="5101792" y="1949786"/>
                  </a:cubicBezTo>
                  <a:lnTo>
                    <a:pt x="3200400" y="1949786"/>
                  </a:lnTo>
                  <a:lnTo>
                    <a:pt x="2426089" y="1175475"/>
                  </a:lnTo>
                  <a:lnTo>
                    <a:pt x="2426089" y="466115"/>
                  </a:lnTo>
                  <a:lnTo>
                    <a:pt x="1959974" y="0"/>
                  </a:lnTo>
                  <a:lnTo>
                    <a:pt x="0" y="0"/>
                  </a:lnTo>
                  <a:lnTo>
                    <a:pt x="0" y="38206"/>
                  </a:lnTo>
                  <a:lnTo>
                    <a:pt x="1944692" y="38206"/>
                  </a:lnTo>
                  <a:lnTo>
                    <a:pt x="2387883" y="4820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70449DB-57BA-0B78-7530-C8DAC919FBFE}"/>
                </a:ext>
              </a:extLst>
            </p:cNvPr>
            <p:cNvSpPr/>
            <p:nvPr/>
          </p:nvSpPr>
          <p:spPr>
            <a:xfrm>
              <a:off x="1431668" y="922677"/>
              <a:ext cx="3805967" cy="3798326"/>
            </a:xfrm>
            <a:custGeom>
              <a:avLst/>
              <a:gdLst>
                <a:gd name="connsiteX0" fmla="*/ 1642227 w 3805967"/>
                <a:gd name="connsiteY0" fmla="*/ 244519 h 3798326"/>
                <a:gd name="connsiteX1" fmla="*/ 1642227 w 3805967"/>
                <a:gd name="connsiteY1" fmla="*/ 826526 h 3798326"/>
                <a:gd name="connsiteX2" fmla="*/ 2929137 w 3805967"/>
                <a:gd name="connsiteY2" fmla="*/ 2114073 h 3798326"/>
                <a:gd name="connsiteX3" fmla="*/ 2929137 w 3805967"/>
                <a:gd name="connsiteY3" fmla="*/ 2948876 h 3798326"/>
                <a:gd name="connsiteX4" fmla="*/ 3621941 w 3805967"/>
                <a:gd name="connsiteY4" fmla="*/ 3641681 h 3798326"/>
                <a:gd name="connsiteX5" fmla="*/ 3604748 w 3805967"/>
                <a:gd name="connsiteY5" fmla="*/ 3697716 h 3798326"/>
                <a:gd name="connsiteX6" fmla="*/ 3705358 w 3805967"/>
                <a:gd name="connsiteY6" fmla="*/ 3798326 h 3798326"/>
                <a:gd name="connsiteX7" fmla="*/ 3805967 w 3805967"/>
                <a:gd name="connsiteY7" fmla="*/ 3697716 h 3798326"/>
                <a:gd name="connsiteX8" fmla="*/ 3705358 w 3805967"/>
                <a:gd name="connsiteY8" fmla="*/ 3597107 h 3798326"/>
                <a:gd name="connsiteX9" fmla="*/ 3649322 w 3805967"/>
                <a:gd name="connsiteY9" fmla="*/ 3614300 h 3798326"/>
                <a:gd name="connsiteX10" fmla="*/ 2967343 w 3805967"/>
                <a:gd name="connsiteY10" fmla="*/ 2932957 h 3798326"/>
                <a:gd name="connsiteX11" fmla="*/ 2967343 w 3805967"/>
                <a:gd name="connsiteY11" fmla="*/ 2098153 h 3798326"/>
                <a:gd name="connsiteX12" fmla="*/ 1680433 w 3805967"/>
                <a:gd name="connsiteY12" fmla="*/ 811243 h 3798326"/>
                <a:gd name="connsiteX13" fmla="*/ 1680433 w 3805967"/>
                <a:gd name="connsiteY13" fmla="*/ 229237 h 3798326"/>
                <a:gd name="connsiteX14" fmla="*/ 1451196 w 3805967"/>
                <a:gd name="connsiteY14" fmla="*/ 0 h 3798326"/>
                <a:gd name="connsiteX15" fmla="*/ 0 w 3805967"/>
                <a:gd name="connsiteY15" fmla="*/ 0 h 3798326"/>
                <a:gd name="connsiteX16" fmla="*/ 0 w 3805967"/>
                <a:gd name="connsiteY16" fmla="*/ 38206 h 3798326"/>
                <a:gd name="connsiteX17" fmla="*/ 1435277 w 3805967"/>
                <a:gd name="connsiteY17" fmla="*/ 38206 h 3798326"/>
                <a:gd name="connsiteX18" fmla="*/ 1642227 w 3805967"/>
                <a:gd name="connsiteY18" fmla="*/ 244519 h 379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8326">
                  <a:moveTo>
                    <a:pt x="1642227" y="244519"/>
                  </a:moveTo>
                  <a:lnTo>
                    <a:pt x="1642227" y="826526"/>
                  </a:lnTo>
                  <a:lnTo>
                    <a:pt x="2929137" y="2114073"/>
                  </a:lnTo>
                  <a:lnTo>
                    <a:pt x="2929137" y="2948876"/>
                  </a:lnTo>
                  <a:lnTo>
                    <a:pt x="3621941" y="3641681"/>
                  </a:lnTo>
                  <a:cubicBezTo>
                    <a:pt x="3611116" y="3657600"/>
                    <a:pt x="3604748" y="3677340"/>
                    <a:pt x="3604748" y="3697716"/>
                  </a:cubicBezTo>
                  <a:cubicBezTo>
                    <a:pt x="3604748" y="3753115"/>
                    <a:pt x="3649959" y="3798326"/>
                    <a:pt x="3705358" y="3798326"/>
                  </a:cubicBezTo>
                  <a:cubicBezTo>
                    <a:pt x="3760757" y="3798326"/>
                    <a:pt x="3805967" y="3753115"/>
                    <a:pt x="3805967" y="3697716"/>
                  </a:cubicBezTo>
                  <a:cubicBezTo>
                    <a:pt x="3805967" y="3642318"/>
                    <a:pt x="3760757" y="3597107"/>
                    <a:pt x="3705358" y="3597107"/>
                  </a:cubicBezTo>
                  <a:cubicBezTo>
                    <a:pt x="3684344" y="3597107"/>
                    <a:pt x="3665241" y="3603475"/>
                    <a:pt x="3649322" y="3614300"/>
                  </a:cubicBezTo>
                  <a:lnTo>
                    <a:pt x="2967343" y="2932957"/>
                  </a:lnTo>
                  <a:lnTo>
                    <a:pt x="2967343" y="2098153"/>
                  </a:lnTo>
                  <a:lnTo>
                    <a:pt x="1680433" y="811243"/>
                  </a:lnTo>
                  <a:lnTo>
                    <a:pt x="1680433" y="229237"/>
                  </a:lnTo>
                  <a:lnTo>
                    <a:pt x="1451196" y="0"/>
                  </a:lnTo>
                  <a:lnTo>
                    <a:pt x="0" y="0"/>
                  </a:lnTo>
                  <a:lnTo>
                    <a:pt x="0" y="38206"/>
                  </a:lnTo>
                  <a:lnTo>
                    <a:pt x="1435277" y="38206"/>
                  </a:lnTo>
                  <a:lnTo>
                    <a:pt x="1642227" y="24451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7F4DEAB-0689-E408-1ECE-D7E1203E1858}"/>
                </a:ext>
              </a:extLst>
            </p:cNvPr>
            <p:cNvSpPr/>
            <p:nvPr/>
          </p:nvSpPr>
          <p:spPr>
            <a:xfrm>
              <a:off x="3927801" y="0"/>
              <a:ext cx="4668151" cy="945601"/>
            </a:xfrm>
            <a:custGeom>
              <a:avLst/>
              <a:gdLst>
                <a:gd name="connsiteX0" fmla="*/ 918857 w 4668151"/>
                <a:gd name="connsiteY0" fmla="*/ 945602 h 945601"/>
                <a:gd name="connsiteX1" fmla="*/ 1693168 w 4668151"/>
                <a:gd name="connsiteY1" fmla="*/ 945602 h 945601"/>
                <a:gd name="connsiteX2" fmla="*/ 1963795 w 4668151"/>
                <a:gd name="connsiteY2" fmla="*/ 674975 h 945601"/>
                <a:gd name="connsiteX3" fmla="*/ 2079050 w 4668151"/>
                <a:gd name="connsiteY3" fmla="*/ 718275 h 945601"/>
                <a:gd name="connsiteX4" fmla="*/ 2255435 w 4668151"/>
                <a:gd name="connsiteY4" fmla="*/ 553352 h 945601"/>
                <a:gd name="connsiteX5" fmla="*/ 4470117 w 4668151"/>
                <a:gd name="connsiteY5" fmla="*/ 553352 h 945601"/>
                <a:gd name="connsiteX6" fmla="*/ 4567543 w 4668151"/>
                <a:gd name="connsiteY6" fmla="*/ 629764 h 945601"/>
                <a:gd name="connsiteX7" fmla="*/ 4668152 w 4668151"/>
                <a:gd name="connsiteY7" fmla="*/ 529155 h 945601"/>
                <a:gd name="connsiteX8" fmla="*/ 4567543 w 4668151"/>
                <a:gd name="connsiteY8" fmla="*/ 428545 h 945601"/>
                <a:gd name="connsiteX9" fmla="*/ 4468207 w 4668151"/>
                <a:gd name="connsiteY9" fmla="*/ 514509 h 945601"/>
                <a:gd name="connsiteX10" fmla="*/ 2253525 w 4668151"/>
                <a:gd name="connsiteY10" fmla="*/ 514509 h 945601"/>
                <a:gd name="connsiteX11" fmla="*/ 2079050 w 4668151"/>
                <a:gd name="connsiteY11" fmla="*/ 364232 h 945601"/>
                <a:gd name="connsiteX12" fmla="*/ 1902665 w 4668151"/>
                <a:gd name="connsiteY12" fmla="*/ 540617 h 945601"/>
                <a:gd name="connsiteX13" fmla="*/ 1937687 w 4668151"/>
                <a:gd name="connsiteY13" fmla="*/ 646320 h 945601"/>
                <a:gd name="connsiteX14" fmla="*/ 1677249 w 4668151"/>
                <a:gd name="connsiteY14" fmla="*/ 906759 h 945601"/>
                <a:gd name="connsiteX15" fmla="*/ 934140 w 4668151"/>
                <a:gd name="connsiteY15" fmla="*/ 906759 h 945601"/>
                <a:gd name="connsiteX16" fmla="*/ 27381 w 4668151"/>
                <a:gd name="connsiteY16" fmla="*/ 0 h 945601"/>
                <a:gd name="connsiteX17" fmla="*/ 0 w 4668151"/>
                <a:gd name="connsiteY17" fmla="*/ 27381 h 945601"/>
                <a:gd name="connsiteX18" fmla="*/ 912490 w 4668151"/>
                <a:gd name="connsiteY18" fmla="*/ 939871 h 945601"/>
                <a:gd name="connsiteX19" fmla="*/ 918857 w 4668151"/>
                <a:gd name="connsiteY19" fmla="*/ 945602 h 945601"/>
                <a:gd name="connsiteX20" fmla="*/ 1940235 w 4668151"/>
                <a:gd name="connsiteY20" fmla="*/ 540617 h 945601"/>
                <a:gd name="connsiteX21" fmla="*/ 2078414 w 4668151"/>
                <a:gd name="connsiteY21" fmla="*/ 402438 h 945601"/>
                <a:gd name="connsiteX22" fmla="*/ 2214045 w 4668151"/>
                <a:gd name="connsiteY22" fmla="*/ 514509 h 945601"/>
                <a:gd name="connsiteX23" fmla="*/ 2216592 w 4668151"/>
                <a:gd name="connsiteY23" fmla="*/ 541254 h 945601"/>
                <a:gd name="connsiteX24" fmla="*/ 2215956 w 4668151"/>
                <a:gd name="connsiteY24" fmla="*/ 553352 h 945601"/>
                <a:gd name="connsiteX25" fmla="*/ 2078414 w 4668151"/>
                <a:gd name="connsiteY25" fmla="*/ 680069 h 945601"/>
                <a:gd name="connsiteX26" fmla="*/ 1990539 w 4668151"/>
                <a:gd name="connsiteY26" fmla="*/ 648231 h 945601"/>
                <a:gd name="connsiteX27" fmla="*/ 1964432 w 4668151"/>
                <a:gd name="connsiteY27" fmla="*/ 620213 h 945601"/>
                <a:gd name="connsiteX28" fmla="*/ 1940235 w 4668151"/>
                <a:gd name="connsiteY28" fmla="*/ 540617 h 94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1" h="945601">
                  <a:moveTo>
                    <a:pt x="918857" y="945602"/>
                  </a:moveTo>
                  <a:lnTo>
                    <a:pt x="1693168" y="945602"/>
                  </a:lnTo>
                  <a:lnTo>
                    <a:pt x="1963795" y="674975"/>
                  </a:lnTo>
                  <a:cubicBezTo>
                    <a:pt x="1994997" y="701719"/>
                    <a:pt x="2035113" y="718275"/>
                    <a:pt x="2079050" y="718275"/>
                  </a:cubicBezTo>
                  <a:cubicBezTo>
                    <a:pt x="2172655" y="718275"/>
                    <a:pt x="2249068" y="645684"/>
                    <a:pt x="2255435" y="553352"/>
                  </a:cubicBezTo>
                  <a:lnTo>
                    <a:pt x="4470117" y="553352"/>
                  </a:lnTo>
                  <a:cubicBezTo>
                    <a:pt x="4480942" y="597289"/>
                    <a:pt x="4520422" y="629764"/>
                    <a:pt x="4567543" y="629764"/>
                  </a:cubicBezTo>
                  <a:cubicBezTo>
                    <a:pt x="4622942" y="629764"/>
                    <a:pt x="4668152" y="584554"/>
                    <a:pt x="4668152" y="529155"/>
                  </a:cubicBezTo>
                  <a:cubicBezTo>
                    <a:pt x="4668152" y="473756"/>
                    <a:pt x="4622942" y="428545"/>
                    <a:pt x="4567543" y="428545"/>
                  </a:cubicBezTo>
                  <a:cubicBezTo>
                    <a:pt x="4517238" y="428545"/>
                    <a:pt x="4475212" y="466115"/>
                    <a:pt x="4468207" y="514509"/>
                  </a:cubicBezTo>
                  <a:lnTo>
                    <a:pt x="2253525" y="514509"/>
                  </a:lnTo>
                  <a:cubicBezTo>
                    <a:pt x="2240790" y="429819"/>
                    <a:pt x="2167561" y="364232"/>
                    <a:pt x="2079050" y="364232"/>
                  </a:cubicBezTo>
                  <a:cubicBezTo>
                    <a:pt x="1981625" y="364232"/>
                    <a:pt x="1902665" y="443191"/>
                    <a:pt x="1902665" y="540617"/>
                  </a:cubicBezTo>
                  <a:cubicBezTo>
                    <a:pt x="1902665" y="580096"/>
                    <a:pt x="1916038" y="617029"/>
                    <a:pt x="1937687" y="646320"/>
                  </a:cubicBezTo>
                  <a:lnTo>
                    <a:pt x="1677249" y="906759"/>
                  </a:lnTo>
                  <a:lnTo>
                    <a:pt x="934140" y="906759"/>
                  </a:lnTo>
                  <a:lnTo>
                    <a:pt x="27381" y="0"/>
                  </a:lnTo>
                  <a:lnTo>
                    <a:pt x="0" y="27381"/>
                  </a:lnTo>
                  <a:lnTo>
                    <a:pt x="912490" y="939871"/>
                  </a:lnTo>
                  <a:lnTo>
                    <a:pt x="918857" y="945602"/>
                  </a:lnTo>
                  <a:close/>
                  <a:moveTo>
                    <a:pt x="1940235" y="540617"/>
                  </a:moveTo>
                  <a:cubicBezTo>
                    <a:pt x="1940235" y="464204"/>
                    <a:pt x="2002001" y="402438"/>
                    <a:pt x="2078414" y="402438"/>
                  </a:cubicBezTo>
                  <a:cubicBezTo>
                    <a:pt x="2145911" y="402438"/>
                    <a:pt x="2201947" y="450832"/>
                    <a:pt x="2214045" y="514509"/>
                  </a:cubicBezTo>
                  <a:cubicBezTo>
                    <a:pt x="2215956" y="522787"/>
                    <a:pt x="2216592" y="531702"/>
                    <a:pt x="2216592" y="541254"/>
                  </a:cubicBezTo>
                  <a:cubicBezTo>
                    <a:pt x="2216592" y="545074"/>
                    <a:pt x="2216592" y="549532"/>
                    <a:pt x="2215956" y="553352"/>
                  </a:cubicBezTo>
                  <a:cubicBezTo>
                    <a:pt x="2209588" y="624033"/>
                    <a:pt x="2150368" y="680069"/>
                    <a:pt x="2078414" y="680069"/>
                  </a:cubicBezTo>
                  <a:cubicBezTo>
                    <a:pt x="2045302" y="680069"/>
                    <a:pt x="2014100" y="667971"/>
                    <a:pt x="1990539" y="648231"/>
                  </a:cubicBezTo>
                  <a:cubicBezTo>
                    <a:pt x="1980351" y="639953"/>
                    <a:pt x="1972073" y="630401"/>
                    <a:pt x="1964432" y="620213"/>
                  </a:cubicBezTo>
                  <a:cubicBezTo>
                    <a:pt x="1949149" y="596652"/>
                    <a:pt x="1940235" y="569908"/>
                    <a:pt x="1940235" y="54061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24A9853-8698-7B78-6E29-B5A9E80196C9}"/>
                </a:ext>
              </a:extLst>
            </p:cNvPr>
            <p:cNvSpPr/>
            <p:nvPr/>
          </p:nvSpPr>
          <p:spPr>
            <a:xfrm>
              <a:off x="4653718" y="839898"/>
              <a:ext cx="6109160" cy="522787"/>
            </a:xfrm>
            <a:custGeom>
              <a:avLst/>
              <a:gdLst>
                <a:gd name="connsiteX0" fmla="*/ 6007914 w 6109160"/>
                <a:gd name="connsiteY0" fmla="*/ 205676 h 522787"/>
                <a:gd name="connsiteX1" fmla="*/ 5951878 w 6109160"/>
                <a:gd name="connsiteY1" fmla="*/ 222869 h 522787"/>
                <a:gd name="connsiteX2" fmla="*/ 5729009 w 6109160"/>
                <a:gd name="connsiteY2" fmla="*/ 0 h 522787"/>
                <a:gd name="connsiteX3" fmla="*/ 1556900 w 6109160"/>
                <a:gd name="connsiteY3" fmla="*/ 0 h 522787"/>
                <a:gd name="connsiteX4" fmla="*/ 1153825 w 6109160"/>
                <a:gd name="connsiteY4" fmla="*/ 403075 h 522787"/>
                <a:gd name="connsiteX5" fmla="*/ 199309 w 6109160"/>
                <a:gd name="connsiteY5" fmla="*/ 403075 h 522787"/>
                <a:gd name="connsiteX6" fmla="*/ 100609 w 6109160"/>
                <a:gd name="connsiteY6" fmla="*/ 321568 h 522787"/>
                <a:gd name="connsiteX7" fmla="*/ 0 w 6109160"/>
                <a:gd name="connsiteY7" fmla="*/ 422178 h 522787"/>
                <a:gd name="connsiteX8" fmla="*/ 100609 w 6109160"/>
                <a:gd name="connsiteY8" fmla="*/ 522787 h 522787"/>
                <a:gd name="connsiteX9" fmla="*/ 199309 w 6109160"/>
                <a:gd name="connsiteY9" fmla="*/ 441281 h 522787"/>
                <a:gd name="connsiteX10" fmla="*/ 1169744 w 6109160"/>
                <a:gd name="connsiteY10" fmla="*/ 441281 h 522787"/>
                <a:gd name="connsiteX11" fmla="*/ 1572819 w 6109160"/>
                <a:gd name="connsiteY11" fmla="*/ 38843 h 522787"/>
                <a:gd name="connsiteX12" fmla="*/ 5713727 w 6109160"/>
                <a:gd name="connsiteY12" fmla="*/ 38843 h 522787"/>
                <a:gd name="connsiteX13" fmla="*/ 5925134 w 6109160"/>
                <a:gd name="connsiteY13" fmla="*/ 250250 h 522787"/>
                <a:gd name="connsiteX14" fmla="*/ 5907942 w 6109160"/>
                <a:gd name="connsiteY14" fmla="*/ 306286 h 522787"/>
                <a:gd name="connsiteX15" fmla="*/ 6008551 w 6109160"/>
                <a:gd name="connsiteY15" fmla="*/ 406895 h 522787"/>
                <a:gd name="connsiteX16" fmla="*/ 6109160 w 6109160"/>
                <a:gd name="connsiteY16" fmla="*/ 306286 h 522787"/>
                <a:gd name="connsiteX17" fmla="*/ 6007914 w 6109160"/>
                <a:gd name="connsiteY17" fmla="*/ 205676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60" h="522787">
                  <a:moveTo>
                    <a:pt x="6007914" y="205676"/>
                  </a:moveTo>
                  <a:cubicBezTo>
                    <a:pt x="5986900" y="205676"/>
                    <a:pt x="5967797" y="212044"/>
                    <a:pt x="5951878" y="222869"/>
                  </a:cubicBezTo>
                  <a:lnTo>
                    <a:pt x="5729009" y="0"/>
                  </a:lnTo>
                  <a:lnTo>
                    <a:pt x="1556900" y="0"/>
                  </a:lnTo>
                  <a:lnTo>
                    <a:pt x="1153825" y="403075"/>
                  </a:lnTo>
                  <a:lnTo>
                    <a:pt x="199309" y="403075"/>
                  </a:lnTo>
                  <a:cubicBezTo>
                    <a:pt x="190394" y="356591"/>
                    <a:pt x="149641" y="321568"/>
                    <a:pt x="100609" y="321568"/>
                  </a:cubicBezTo>
                  <a:cubicBezTo>
                    <a:pt x="45210" y="321568"/>
                    <a:pt x="0" y="366779"/>
                    <a:pt x="0" y="422178"/>
                  </a:cubicBezTo>
                  <a:cubicBezTo>
                    <a:pt x="0" y="477577"/>
                    <a:pt x="45210" y="522787"/>
                    <a:pt x="100609" y="522787"/>
                  </a:cubicBezTo>
                  <a:cubicBezTo>
                    <a:pt x="149641" y="522787"/>
                    <a:pt x="190394" y="487765"/>
                    <a:pt x="199309" y="441281"/>
                  </a:cubicBezTo>
                  <a:lnTo>
                    <a:pt x="1169744" y="441281"/>
                  </a:lnTo>
                  <a:lnTo>
                    <a:pt x="1572819" y="38843"/>
                  </a:lnTo>
                  <a:lnTo>
                    <a:pt x="5713727" y="38843"/>
                  </a:lnTo>
                  <a:lnTo>
                    <a:pt x="5925134" y="250250"/>
                  </a:lnTo>
                  <a:cubicBezTo>
                    <a:pt x="5914309" y="266169"/>
                    <a:pt x="5907942" y="285909"/>
                    <a:pt x="5907942" y="306286"/>
                  </a:cubicBezTo>
                  <a:cubicBezTo>
                    <a:pt x="5907942" y="361685"/>
                    <a:pt x="5953152" y="406895"/>
                    <a:pt x="6008551" y="406895"/>
                  </a:cubicBezTo>
                  <a:cubicBezTo>
                    <a:pt x="6063950" y="406895"/>
                    <a:pt x="6109160" y="361685"/>
                    <a:pt x="6109160" y="306286"/>
                  </a:cubicBezTo>
                  <a:cubicBezTo>
                    <a:pt x="6109160" y="250887"/>
                    <a:pt x="6063950" y="205676"/>
                    <a:pt x="6007914" y="20567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805A78B-EB03-64B7-12DF-EDC9546AB4D0}"/>
                </a:ext>
              </a:extLst>
            </p:cNvPr>
            <p:cNvSpPr/>
            <p:nvPr/>
          </p:nvSpPr>
          <p:spPr>
            <a:xfrm>
              <a:off x="1937262" y="4370781"/>
              <a:ext cx="1263349" cy="2484671"/>
            </a:xfrm>
            <a:custGeom>
              <a:avLst/>
              <a:gdLst>
                <a:gd name="connsiteX0" fmla="*/ 1162740 w 1263349"/>
                <a:gd name="connsiteY0" fmla="*/ 2284090 h 2484671"/>
                <a:gd name="connsiteX1" fmla="*/ 1106704 w 1263349"/>
                <a:gd name="connsiteY1" fmla="*/ 2301283 h 2484671"/>
                <a:gd name="connsiteX2" fmla="*/ 119713 w 1263349"/>
                <a:gd name="connsiteY2" fmla="*/ 1314291 h 2484671"/>
                <a:gd name="connsiteX3" fmla="*/ 119713 w 1263349"/>
                <a:gd name="connsiteY3" fmla="*/ 199309 h 2484671"/>
                <a:gd name="connsiteX4" fmla="*/ 201219 w 1263349"/>
                <a:gd name="connsiteY4" fmla="*/ 100609 h 2484671"/>
                <a:gd name="connsiteX5" fmla="*/ 100609 w 1263349"/>
                <a:gd name="connsiteY5" fmla="*/ 0 h 2484671"/>
                <a:gd name="connsiteX6" fmla="*/ 0 w 1263349"/>
                <a:gd name="connsiteY6" fmla="*/ 100609 h 2484671"/>
                <a:gd name="connsiteX7" fmla="*/ 81506 w 1263349"/>
                <a:gd name="connsiteY7" fmla="*/ 199309 h 2484671"/>
                <a:gd name="connsiteX8" fmla="*/ 81506 w 1263349"/>
                <a:gd name="connsiteY8" fmla="*/ 1330210 h 2484671"/>
                <a:gd name="connsiteX9" fmla="*/ 1079323 w 1263349"/>
                <a:gd name="connsiteY9" fmla="*/ 2328027 h 2484671"/>
                <a:gd name="connsiteX10" fmla="*/ 1062130 w 1263349"/>
                <a:gd name="connsiteY10" fmla="*/ 2384063 h 2484671"/>
                <a:gd name="connsiteX11" fmla="*/ 1162740 w 1263349"/>
                <a:gd name="connsiteY11" fmla="*/ 2484672 h 2484671"/>
                <a:gd name="connsiteX12" fmla="*/ 1263349 w 1263349"/>
                <a:gd name="connsiteY12" fmla="*/ 2384063 h 2484671"/>
                <a:gd name="connsiteX13" fmla="*/ 1162740 w 1263349"/>
                <a:gd name="connsiteY13" fmla="*/ 2284090 h 2484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4671">
                  <a:moveTo>
                    <a:pt x="1162740" y="2284090"/>
                  </a:moveTo>
                  <a:cubicBezTo>
                    <a:pt x="1141727" y="2284090"/>
                    <a:pt x="1122623" y="2290457"/>
                    <a:pt x="1106704" y="2301283"/>
                  </a:cubicBezTo>
                  <a:lnTo>
                    <a:pt x="119713" y="1314291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49641"/>
                    <a:pt x="35022" y="190394"/>
                    <a:pt x="81506" y="199309"/>
                  </a:cubicBezTo>
                  <a:lnTo>
                    <a:pt x="81506" y="1330210"/>
                  </a:lnTo>
                  <a:lnTo>
                    <a:pt x="1079323" y="2328027"/>
                  </a:lnTo>
                  <a:cubicBezTo>
                    <a:pt x="1068498" y="2343946"/>
                    <a:pt x="1062130" y="2363686"/>
                    <a:pt x="1062130" y="2384063"/>
                  </a:cubicBezTo>
                  <a:cubicBezTo>
                    <a:pt x="1062130" y="2439461"/>
                    <a:pt x="1107341" y="2484672"/>
                    <a:pt x="1162740" y="2484672"/>
                  </a:cubicBezTo>
                  <a:cubicBezTo>
                    <a:pt x="1218139" y="2484672"/>
                    <a:pt x="1263349" y="2439461"/>
                    <a:pt x="1263349" y="2384063"/>
                  </a:cubicBezTo>
                  <a:cubicBezTo>
                    <a:pt x="1263349" y="2328663"/>
                    <a:pt x="1218139" y="2284090"/>
                    <a:pt x="1162740" y="228409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C8ACE7E-84FA-C5BD-44CE-5E338C96B555}"/>
                </a:ext>
              </a:extLst>
            </p:cNvPr>
            <p:cNvSpPr/>
            <p:nvPr/>
          </p:nvSpPr>
          <p:spPr>
            <a:xfrm>
              <a:off x="1643075" y="2232511"/>
              <a:ext cx="1060220" cy="4478395"/>
            </a:xfrm>
            <a:custGeom>
              <a:avLst/>
              <a:gdLst>
                <a:gd name="connsiteX0" fmla="*/ 959611 w 1060220"/>
                <a:gd name="connsiteY0" fmla="*/ 4277813 h 4478395"/>
                <a:gd name="connsiteX1" fmla="*/ 918221 w 1060220"/>
                <a:gd name="connsiteY1" fmla="*/ 4286728 h 4478395"/>
                <a:gd name="connsiteX2" fmla="*/ 918221 w 1060220"/>
                <a:gd name="connsiteY2" fmla="*/ 4286728 h 4478395"/>
                <a:gd name="connsiteX3" fmla="*/ 308833 w 1060220"/>
                <a:gd name="connsiteY3" fmla="*/ 3677340 h 4478395"/>
                <a:gd name="connsiteX4" fmla="*/ 352770 w 1060220"/>
                <a:gd name="connsiteY4" fmla="*/ 3560811 h 4478395"/>
                <a:gd name="connsiteX5" fmla="*/ 195488 w 1060220"/>
                <a:gd name="connsiteY5" fmla="*/ 3385063 h 4478395"/>
                <a:gd name="connsiteX6" fmla="*/ 195488 w 1060220"/>
                <a:gd name="connsiteY6" fmla="*/ 2057400 h 4478395"/>
                <a:gd name="connsiteX7" fmla="*/ 389703 w 1060220"/>
                <a:gd name="connsiteY7" fmla="*/ 1863186 h 4478395"/>
                <a:gd name="connsiteX8" fmla="*/ 389703 w 1060220"/>
                <a:gd name="connsiteY8" fmla="*/ 199309 h 4478395"/>
                <a:gd name="connsiteX9" fmla="*/ 473119 w 1060220"/>
                <a:gd name="connsiteY9" fmla="*/ 100609 h 4478395"/>
                <a:gd name="connsiteX10" fmla="*/ 372510 w 1060220"/>
                <a:gd name="connsiteY10" fmla="*/ 0 h 4478395"/>
                <a:gd name="connsiteX11" fmla="*/ 272537 w 1060220"/>
                <a:gd name="connsiteY11" fmla="*/ 100609 h 4478395"/>
                <a:gd name="connsiteX12" fmla="*/ 351496 w 1060220"/>
                <a:gd name="connsiteY12" fmla="*/ 198672 h 4478395"/>
                <a:gd name="connsiteX13" fmla="*/ 351496 w 1060220"/>
                <a:gd name="connsiteY13" fmla="*/ 1847903 h 4478395"/>
                <a:gd name="connsiteX14" fmla="*/ 157282 w 1060220"/>
                <a:gd name="connsiteY14" fmla="*/ 2042117 h 4478395"/>
                <a:gd name="connsiteX15" fmla="*/ 157282 w 1060220"/>
                <a:gd name="connsiteY15" fmla="*/ 3385700 h 4478395"/>
                <a:gd name="connsiteX16" fmla="*/ 0 w 1060220"/>
                <a:gd name="connsiteY16" fmla="*/ 3561448 h 4478395"/>
                <a:gd name="connsiteX17" fmla="*/ 176385 w 1060220"/>
                <a:gd name="connsiteY17" fmla="*/ 3737833 h 4478395"/>
                <a:gd name="connsiteX18" fmla="*/ 280815 w 1060220"/>
                <a:gd name="connsiteY18" fmla="*/ 3703448 h 4478395"/>
                <a:gd name="connsiteX19" fmla="*/ 886382 w 1060220"/>
                <a:gd name="connsiteY19" fmla="*/ 4309015 h 4478395"/>
                <a:gd name="connsiteX20" fmla="*/ 886382 w 1060220"/>
                <a:gd name="connsiteY20" fmla="*/ 4309015 h 4478395"/>
                <a:gd name="connsiteX21" fmla="*/ 859001 w 1060220"/>
                <a:gd name="connsiteY21" fmla="*/ 4377786 h 4478395"/>
                <a:gd name="connsiteX22" fmla="*/ 959611 w 1060220"/>
                <a:gd name="connsiteY22" fmla="*/ 4478395 h 4478395"/>
                <a:gd name="connsiteX23" fmla="*/ 1060220 w 1060220"/>
                <a:gd name="connsiteY23" fmla="*/ 4377786 h 4478395"/>
                <a:gd name="connsiteX24" fmla="*/ 959611 w 1060220"/>
                <a:gd name="connsiteY24" fmla="*/ 4277813 h 4478395"/>
                <a:gd name="connsiteX25" fmla="*/ 254071 w 1060220"/>
                <a:gd name="connsiteY25" fmla="*/ 3676067 h 4478395"/>
                <a:gd name="connsiteX26" fmla="*/ 177022 w 1060220"/>
                <a:gd name="connsiteY26" fmla="*/ 3699627 h 4478395"/>
                <a:gd name="connsiteX27" fmla="*/ 38843 w 1060220"/>
                <a:gd name="connsiteY27" fmla="*/ 3561448 h 4478395"/>
                <a:gd name="connsiteX28" fmla="*/ 157919 w 1060220"/>
                <a:gd name="connsiteY28" fmla="*/ 3424543 h 4478395"/>
                <a:gd name="connsiteX29" fmla="*/ 177022 w 1060220"/>
                <a:gd name="connsiteY29" fmla="*/ 3423269 h 4478395"/>
                <a:gd name="connsiteX30" fmla="*/ 196125 w 1060220"/>
                <a:gd name="connsiteY30" fmla="*/ 3424543 h 4478395"/>
                <a:gd name="connsiteX31" fmla="*/ 315201 w 1060220"/>
                <a:gd name="connsiteY31" fmla="*/ 3561448 h 4478395"/>
                <a:gd name="connsiteX32" fmla="*/ 282725 w 1060220"/>
                <a:gd name="connsiteY32" fmla="*/ 3650596 h 4478395"/>
                <a:gd name="connsiteX33" fmla="*/ 254071 w 1060220"/>
                <a:gd name="connsiteY33" fmla="*/ 3676067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0" h="4478395">
                  <a:moveTo>
                    <a:pt x="959611" y="4277813"/>
                  </a:moveTo>
                  <a:cubicBezTo>
                    <a:pt x="944965" y="4277813"/>
                    <a:pt x="930956" y="4280997"/>
                    <a:pt x="918221" y="4286728"/>
                  </a:cubicBezTo>
                  <a:lnTo>
                    <a:pt x="918221" y="4286728"/>
                  </a:lnTo>
                  <a:lnTo>
                    <a:pt x="308833" y="3677340"/>
                  </a:lnTo>
                  <a:cubicBezTo>
                    <a:pt x="336214" y="3646138"/>
                    <a:pt x="352770" y="3605385"/>
                    <a:pt x="352770" y="3560811"/>
                  </a:cubicBezTo>
                  <a:cubicBezTo>
                    <a:pt x="352770" y="3469753"/>
                    <a:pt x="283999" y="3394615"/>
                    <a:pt x="195488" y="3385063"/>
                  </a:cubicBezTo>
                  <a:lnTo>
                    <a:pt x="195488" y="2057400"/>
                  </a:lnTo>
                  <a:lnTo>
                    <a:pt x="389703" y="1863186"/>
                  </a:lnTo>
                  <a:lnTo>
                    <a:pt x="389703" y="199309"/>
                  </a:lnTo>
                  <a:cubicBezTo>
                    <a:pt x="436823" y="191031"/>
                    <a:pt x="473119" y="150277"/>
                    <a:pt x="473119" y="100609"/>
                  </a:cubicBezTo>
                  <a:cubicBezTo>
                    <a:pt x="473119" y="45211"/>
                    <a:pt x="427909" y="0"/>
                    <a:pt x="372510" y="0"/>
                  </a:cubicBezTo>
                  <a:cubicBezTo>
                    <a:pt x="317111" y="0"/>
                    <a:pt x="272537" y="44574"/>
                    <a:pt x="272537" y="100609"/>
                  </a:cubicBezTo>
                  <a:cubicBezTo>
                    <a:pt x="272537" y="149004"/>
                    <a:pt x="306286" y="189120"/>
                    <a:pt x="351496" y="198672"/>
                  </a:cubicBezTo>
                  <a:lnTo>
                    <a:pt x="351496" y="1847903"/>
                  </a:lnTo>
                  <a:lnTo>
                    <a:pt x="157282" y="2042117"/>
                  </a:lnTo>
                  <a:lnTo>
                    <a:pt x="157282" y="3385700"/>
                  </a:lnTo>
                  <a:cubicBezTo>
                    <a:pt x="68771" y="3395251"/>
                    <a:pt x="0" y="3470390"/>
                    <a:pt x="0" y="3561448"/>
                  </a:cubicBezTo>
                  <a:cubicBezTo>
                    <a:pt x="0" y="3658874"/>
                    <a:pt x="78959" y="3737833"/>
                    <a:pt x="176385" y="3737833"/>
                  </a:cubicBezTo>
                  <a:cubicBezTo>
                    <a:pt x="215228" y="3737833"/>
                    <a:pt x="251524" y="3725097"/>
                    <a:pt x="280815" y="3703448"/>
                  </a:cubicBezTo>
                  <a:lnTo>
                    <a:pt x="886382" y="4309015"/>
                  </a:lnTo>
                  <a:lnTo>
                    <a:pt x="886382" y="4309015"/>
                  </a:lnTo>
                  <a:cubicBezTo>
                    <a:pt x="869189" y="4326844"/>
                    <a:pt x="859001" y="4351042"/>
                    <a:pt x="859001" y="4377786"/>
                  </a:cubicBezTo>
                  <a:cubicBezTo>
                    <a:pt x="859001" y="4433185"/>
                    <a:pt x="904212" y="4478395"/>
                    <a:pt x="959611" y="4478395"/>
                  </a:cubicBezTo>
                  <a:cubicBezTo>
                    <a:pt x="1015010" y="4478395"/>
                    <a:pt x="1060220" y="4433185"/>
                    <a:pt x="1060220" y="4377786"/>
                  </a:cubicBezTo>
                  <a:cubicBezTo>
                    <a:pt x="1060220" y="4322387"/>
                    <a:pt x="1015010" y="4277813"/>
                    <a:pt x="959611" y="4277813"/>
                  </a:cubicBezTo>
                  <a:close/>
                  <a:moveTo>
                    <a:pt x="254071" y="3676067"/>
                  </a:moveTo>
                  <a:cubicBezTo>
                    <a:pt x="231784" y="3690712"/>
                    <a:pt x="205676" y="3699627"/>
                    <a:pt x="177022" y="3699627"/>
                  </a:cubicBezTo>
                  <a:cubicBezTo>
                    <a:pt x="100609" y="3699627"/>
                    <a:pt x="38843" y="3637860"/>
                    <a:pt x="38843" y="3561448"/>
                  </a:cubicBezTo>
                  <a:cubicBezTo>
                    <a:pt x="38843" y="3491404"/>
                    <a:pt x="91058" y="3434094"/>
                    <a:pt x="157919" y="3424543"/>
                  </a:cubicBezTo>
                  <a:cubicBezTo>
                    <a:pt x="164286" y="3423906"/>
                    <a:pt x="170654" y="3423269"/>
                    <a:pt x="177022" y="3423269"/>
                  </a:cubicBezTo>
                  <a:cubicBezTo>
                    <a:pt x="183389" y="3423269"/>
                    <a:pt x="189757" y="3423906"/>
                    <a:pt x="196125" y="3424543"/>
                  </a:cubicBezTo>
                  <a:cubicBezTo>
                    <a:pt x="263622" y="3434094"/>
                    <a:pt x="315201" y="3491404"/>
                    <a:pt x="315201" y="3561448"/>
                  </a:cubicBezTo>
                  <a:cubicBezTo>
                    <a:pt x="315201" y="3595197"/>
                    <a:pt x="303102" y="3626398"/>
                    <a:pt x="282725" y="3650596"/>
                  </a:cubicBezTo>
                  <a:cubicBezTo>
                    <a:pt x="273811" y="3660147"/>
                    <a:pt x="264259" y="3668425"/>
                    <a:pt x="254071" y="367606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91DA184-2D9B-8A25-6788-C59D75A4FEC0}"/>
                </a:ext>
              </a:extLst>
            </p:cNvPr>
            <p:cNvSpPr/>
            <p:nvPr/>
          </p:nvSpPr>
          <p:spPr>
            <a:xfrm>
              <a:off x="2620515" y="2527972"/>
              <a:ext cx="1683623" cy="4103974"/>
            </a:xfrm>
            <a:custGeom>
              <a:avLst/>
              <a:gdLst>
                <a:gd name="connsiteX0" fmla="*/ 1583644 w 1683623"/>
                <a:gd name="connsiteY0" fmla="*/ 3903393 h 4103974"/>
                <a:gd name="connsiteX1" fmla="*/ 1540344 w 1683623"/>
                <a:gd name="connsiteY1" fmla="*/ 3913581 h 4103974"/>
                <a:gd name="connsiteX2" fmla="*/ 773674 w 1683623"/>
                <a:gd name="connsiteY2" fmla="*/ 3146912 h 4103974"/>
                <a:gd name="connsiteX3" fmla="*/ 773674 w 1683623"/>
                <a:gd name="connsiteY3" fmla="*/ 1752388 h 4103974"/>
                <a:gd name="connsiteX4" fmla="*/ 127991 w 1683623"/>
                <a:gd name="connsiteY4" fmla="*/ 1106704 h 4103974"/>
                <a:gd name="connsiteX5" fmla="*/ 127991 w 1683623"/>
                <a:gd name="connsiteY5" fmla="*/ 197398 h 4103974"/>
                <a:gd name="connsiteX6" fmla="*/ 201219 w 1683623"/>
                <a:gd name="connsiteY6" fmla="*/ 100609 h 4103974"/>
                <a:gd name="connsiteX7" fmla="*/ 100609 w 1683623"/>
                <a:gd name="connsiteY7" fmla="*/ 0 h 4103974"/>
                <a:gd name="connsiteX8" fmla="*/ 0 w 1683623"/>
                <a:gd name="connsiteY8" fmla="*/ 100609 h 4103974"/>
                <a:gd name="connsiteX9" fmla="*/ 89148 w 1683623"/>
                <a:gd name="connsiteY9" fmla="*/ 200582 h 4103974"/>
                <a:gd name="connsiteX10" fmla="*/ 89148 w 1683623"/>
                <a:gd name="connsiteY10" fmla="*/ 1122623 h 4103974"/>
                <a:gd name="connsiteX11" fmla="*/ 734831 w 1683623"/>
                <a:gd name="connsiteY11" fmla="*/ 1768307 h 4103974"/>
                <a:gd name="connsiteX12" fmla="*/ 734831 w 1683623"/>
                <a:gd name="connsiteY12" fmla="*/ 3162831 h 4103974"/>
                <a:gd name="connsiteX13" fmla="*/ 1508505 w 1683623"/>
                <a:gd name="connsiteY13" fmla="*/ 3936505 h 4103974"/>
                <a:gd name="connsiteX14" fmla="*/ 1482398 w 1683623"/>
                <a:gd name="connsiteY14" fmla="*/ 4003365 h 4103974"/>
                <a:gd name="connsiteX15" fmla="*/ 1583007 w 1683623"/>
                <a:gd name="connsiteY15" fmla="*/ 4103975 h 4103974"/>
                <a:gd name="connsiteX16" fmla="*/ 1683617 w 1683623"/>
                <a:gd name="connsiteY16" fmla="*/ 4003365 h 4103974"/>
                <a:gd name="connsiteX17" fmla="*/ 1583644 w 1683623"/>
                <a:gd name="connsiteY17" fmla="*/ 3903393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3623" h="4103974">
                  <a:moveTo>
                    <a:pt x="1583644" y="3903393"/>
                  </a:moveTo>
                  <a:cubicBezTo>
                    <a:pt x="1567725" y="3903393"/>
                    <a:pt x="1553079" y="3907213"/>
                    <a:pt x="1540344" y="3913581"/>
                  </a:cubicBezTo>
                  <a:lnTo>
                    <a:pt x="773674" y="3146912"/>
                  </a:lnTo>
                  <a:lnTo>
                    <a:pt x="773674" y="1752388"/>
                  </a:lnTo>
                  <a:lnTo>
                    <a:pt x="127991" y="1106704"/>
                  </a:lnTo>
                  <a:lnTo>
                    <a:pt x="127991" y="197398"/>
                  </a:lnTo>
                  <a:cubicBezTo>
                    <a:pt x="170017" y="185300"/>
                    <a:pt x="201219" y="147094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2188"/>
                    <a:pt x="38843" y="194851"/>
                    <a:pt x="89148" y="200582"/>
                  </a:cubicBezTo>
                  <a:lnTo>
                    <a:pt x="89148" y="1122623"/>
                  </a:lnTo>
                  <a:lnTo>
                    <a:pt x="734831" y="1768307"/>
                  </a:lnTo>
                  <a:lnTo>
                    <a:pt x="734831" y="3162831"/>
                  </a:lnTo>
                  <a:lnTo>
                    <a:pt x="1508505" y="3936505"/>
                  </a:lnTo>
                  <a:cubicBezTo>
                    <a:pt x="1492586" y="3954334"/>
                    <a:pt x="1482398" y="3977895"/>
                    <a:pt x="1482398" y="4003365"/>
                  </a:cubicBezTo>
                  <a:cubicBezTo>
                    <a:pt x="1482398" y="4058765"/>
                    <a:pt x="1527608" y="4103975"/>
                    <a:pt x="1583007" y="4103975"/>
                  </a:cubicBezTo>
                  <a:cubicBezTo>
                    <a:pt x="1638406" y="4103975"/>
                    <a:pt x="1683617" y="4058765"/>
                    <a:pt x="1683617" y="4003365"/>
                  </a:cubicBezTo>
                  <a:cubicBezTo>
                    <a:pt x="1684254" y="3948603"/>
                    <a:pt x="1639043" y="3903393"/>
                    <a:pt x="1583644" y="390339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C3155AE-71CF-1DA3-4806-642F674FDEFC}"/>
                </a:ext>
              </a:extLst>
            </p:cNvPr>
            <p:cNvSpPr/>
            <p:nvPr/>
          </p:nvSpPr>
          <p:spPr>
            <a:xfrm>
              <a:off x="2458776" y="2017283"/>
              <a:ext cx="790875" cy="3766487"/>
            </a:xfrm>
            <a:custGeom>
              <a:avLst/>
              <a:gdLst>
                <a:gd name="connsiteX0" fmla="*/ 709997 w 790875"/>
                <a:gd name="connsiteY0" fmla="*/ 3567179 h 3766487"/>
                <a:gd name="connsiteX1" fmla="*/ 709997 w 790875"/>
                <a:gd name="connsiteY1" fmla="*/ 2376421 h 3766487"/>
                <a:gd name="connsiteX2" fmla="*/ 38843 w 790875"/>
                <a:gd name="connsiteY2" fmla="*/ 1705267 h 3766487"/>
                <a:gd name="connsiteX3" fmla="*/ 38843 w 790875"/>
                <a:gd name="connsiteY3" fmla="*/ 512599 h 3766487"/>
                <a:gd name="connsiteX4" fmla="*/ 367416 w 790875"/>
                <a:gd name="connsiteY4" fmla="*/ 184026 h 3766487"/>
                <a:gd name="connsiteX5" fmla="*/ 423451 w 790875"/>
                <a:gd name="connsiteY5" fmla="*/ 201219 h 3766487"/>
                <a:gd name="connsiteX6" fmla="*/ 524061 w 790875"/>
                <a:gd name="connsiteY6" fmla="*/ 100610 h 3766487"/>
                <a:gd name="connsiteX7" fmla="*/ 423451 w 790875"/>
                <a:gd name="connsiteY7" fmla="*/ 0 h 3766487"/>
                <a:gd name="connsiteX8" fmla="*/ 322842 w 790875"/>
                <a:gd name="connsiteY8" fmla="*/ 100610 h 3766487"/>
                <a:gd name="connsiteX9" fmla="*/ 340035 w 790875"/>
                <a:gd name="connsiteY9" fmla="*/ 156645 h 3766487"/>
                <a:gd name="connsiteX10" fmla="*/ 0 w 790875"/>
                <a:gd name="connsiteY10" fmla="*/ 496680 h 3766487"/>
                <a:gd name="connsiteX11" fmla="*/ 0 w 790875"/>
                <a:gd name="connsiteY11" fmla="*/ 1721186 h 3766487"/>
                <a:gd name="connsiteX12" fmla="*/ 671154 w 790875"/>
                <a:gd name="connsiteY12" fmla="*/ 2392341 h 3766487"/>
                <a:gd name="connsiteX13" fmla="*/ 671154 w 790875"/>
                <a:gd name="connsiteY13" fmla="*/ 3567179 h 3766487"/>
                <a:gd name="connsiteX14" fmla="*/ 589648 w 790875"/>
                <a:gd name="connsiteY14" fmla="*/ 3665878 h 3766487"/>
                <a:gd name="connsiteX15" fmla="*/ 690257 w 790875"/>
                <a:gd name="connsiteY15" fmla="*/ 3766488 h 3766487"/>
                <a:gd name="connsiteX16" fmla="*/ 790867 w 790875"/>
                <a:gd name="connsiteY16" fmla="*/ 3665878 h 3766487"/>
                <a:gd name="connsiteX17" fmla="*/ 709997 w 790875"/>
                <a:gd name="connsiteY17" fmla="*/ 3567179 h 376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75" h="3766487">
                  <a:moveTo>
                    <a:pt x="709997" y="3567179"/>
                  </a:moveTo>
                  <a:lnTo>
                    <a:pt x="709997" y="2376421"/>
                  </a:lnTo>
                  <a:lnTo>
                    <a:pt x="38843" y="1705267"/>
                  </a:lnTo>
                  <a:lnTo>
                    <a:pt x="38843" y="512599"/>
                  </a:lnTo>
                  <a:lnTo>
                    <a:pt x="367416" y="184026"/>
                  </a:lnTo>
                  <a:cubicBezTo>
                    <a:pt x="383335" y="194851"/>
                    <a:pt x="403075" y="201219"/>
                    <a:pt x="423451" y="201219"/>
                  </a:cubicBezTo>
                  <a:cubicBezTo>
                    <a:pt x="478850" y="201219"/>
                    <a:pt x="524061" y="156008"/>
                    <a:pt x="524061" y="100610"/>
                  </a:cubicBezTo>
                  <a:cubicBezTo>
                    <a:pt x="524061" y="45211"/>
                    <a:pt x="478850" y="0"/>
                    <a:pt x="423451" y="0"/>
                  </a:cubicBezTo>
                  <a:cubicBezTo>
                    <a:pt x="368052" y="0"/>
                    <a:pt x="322842" y="45211"/>
                    <a:pt x="322842" y="100610"/>
                  </a:cubicBezTo>
                  <a:cubicBezTo>
                    <a:pt x="322842" y="121623"/>
                    <a:pt x="329209" y="140726"/>
                    <a:pt x="340035" y="156645"/>
                  </a:cubicBezTo>
                  <a:lnTo>
                    <a:pt x="0" y="496680"/>
                  </a:lnTo>
                  <a:lnTo>
                    <a:pt x="0" y="1721186"/>
                  </a:lnTo>
                  <a:lnTo>
                    <a:pt x="671154" y="2392341"/>
                  </a:lnTo>
                  <a:lnTo>
                    <a:pt x="671154" y="3567179"/>
                  </a:lnTo>
                  <a:cubicBezTo>
                    <a:pt x="624670" y="3576094"/>
                    <a:pt x="589648" y="3616847"/>
                    <a:pt x="589648" y="3665878"/>
                  </a:cubicBezTo>
                  <a:cubicBezTo>
                    <a:pt x="589648" y="3721277"/>
                    <a:pt x="634859" y="3766488"/>
                    <a:pt x="690257" y="3766488"/>
                  </a:cubicBezTo>
                  <a:cubicBezTo>
                    <a:pt x="745656" y="3766488"/>
                    <a:pt x="790867" y="3721277"/>
                    <a:pt x="790867" y="3665878"/>
                  </a:cubicBezTo>
                  <a:cubicBezTo>
                    <a:pt x="791504" y="3616847"/>
                    <a:pt x="756481" y="3576094"/>
                    <a:pt x="709997" y="356717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8522FD3-C189-2E35-BC0E-D99A1E4C52FF}"/>
                </a:ext>
              </a:extLst>
            </p:cNvPr>
            <p:cNvSpPr/>
            <p:nvPr/>
          </p:nvSpPr>
          <p:spPr>
            <a:xfrm>
              <a:off x="3184055" y="2233148"/>
              <a:ext cx="1515509" cy="3560811"/>
            </a:xfrm>
            <a:custGeom>
              <a:avLst/>
              <a:gdLst>
                <a:gd name="connsiteX0" fmla="*/ 1414900 w 1515509"/>
                <a:gd name="connsiteY0" fmla="*/ 3359592 h 3560811"/>
                <a:gd name="connsiteX1" fmla="*/ 1358865 w 1515509"/>
                <a:gd name="connsiteY1" fmla="*/ 3376785 h 3560811"/>
                <a:gd name="connsiteX2" fmla="*/ 562904 w 1515509"/>
                <a:gd name="connsiteY2" fmla="*/ 2580824 h 3560811"/>
                <a:gd name="connsiteX3" fmla="*/ 562904 w 1515509"/>
                <a:gd name="connsiteY3" fmla="*/ 1945965 h 3560811"/>
                <a:gd name="connsiteX4" fmla="*/ 833530 w 1515509"/>
                <a:gd name="connsiteY4" fmla="*/ 1675339 h 3560811"/>
                <a:gd name="connsiteX5" fmla="*/ 833530 w 1515509"/>
                <a:gd name="connsiteY5" fmla="*/ 974893 h 3560811"/>
                <a:gd name="connsiteX6" fmla="*/ 980624 w 1515509"/>
                <a:gd name="connsiteY6" fmla="*/ 801055 h 3560811"/>
                <a:gd name="connsiteX7" fmla="*/ 804239 w 1515509"/>
                <a:gd name="connsiteY7" fmla="*/ 624670 h 3560811"/>
                <a:gd name="connsiteX8" fmla="*/ 692168 w 1515509"/>
                <a:gd name="connsiteY8" fmla="*/ 664787 h 3560811"/>
                <a:gd name="connsiteX9" fmla="*/ 184026 w 1515509"/>
                <a:gd name="connsiteY9" fmla="*/ 156645 h 3560811"/>
                <a:gd name="connsiteX10" fmla="*/ 201219 w 1515509"/>
                <a:gd name="connsiteY10" fmla="*/ 100609 h 3560811"/>
                <a:gd name="connsiteX11" fmla="*/ 100609 w 1515509"/>
                <a:gd name="connsiteY11" fmla="*/ 0 h 3560811"/>
                <a:gd name="connsiteX12" fmla="*/ 0 w 1515509"/>
                <a:gd name="connsiteY12" fmla="*/ 100609 h 3560811"/>
                <a:gd name="connsiteX13" fmla="*/ 100609 w 1515509"/>
                <a:gd name="connsiteY13" fmla="*/ 201219 h 3560811"/>
                <a:gd name="connsiteX14" fmla="*/ 156645 w 1515509"/>
                <a:gd name="connsiteY14" fmla="*/ 184026 h 3560811"/>
                <a:gd name="connsiteX15" fmla="*/ 156645 w 1515509"/>
                <a:gd name="connsiteY15" fmla="*/ 184026 h 3560811"/>
                <a:gd name="connsiteX16" fmla="*/ 664787 w 1515509"/>
                <a:gd name="connsiteY16" fmla="*/ 692168 h 3560811"/>
                <a:gd name="connsiteX17" fmla="*/ 627217 w 1515509"/>
                <a:gd name="connsiteY17" fmla="*/ 801055 h 3560811"/>
                <a:gd name="connsiteX18" fmla="*/ 795324 w 1515509"/>
                <a:gd name="connsiteY18" fmla="*/ 977440 h 3560811"/>
                <a:gd name="connsiteX19" fmla="*/ 795324 w 1515509"/>
                <a:gd name="connsiteY19" fmla="*/ 1660056 h 3560811"/>
                <a:gd name="connsiteX20" fmla="*/ 524697 w 1515509"/>
                <a:gd name="connsiteY20" fmla="*/ 1930683 h 3560811"/>
                <a:gd name="connsiteX21" fmla="*/ 524697 w 1515509"/>
                <a:gd name="connsiteY21" fmla="*/ 2597380 h 3560811"/>
                <a:gd name="connsiteX22" fmla="*/ 1331483 w 1515509"/>
                <a:gd name="connsiteY22" fmla="*/ 3404166 h 3560811"/>
                <a:gd name="connsiteX23" fmla="*/ 1314291 w 1515509"/>
                <a:gd name="connsiteY23" fmla="*/ 3460202 h 3560811"/>
                <a:gd name="connsiteX24" fmla="*/ 1414900 w 1515509"/>
                <a:gd name="connsiteY24" fmla="*/ 3560811 h 3560811"/>
                <a:gd name="connsiteX25" fmla="*/ 1515510 w 1515509"/>
                <a:gd name="connsiteY25" fmla="*/ 3460202 h 3560811"/>
                <a:gd name="connsiteX26" fmla="*/ 1414900 w 1515509"/>
                <a:gd name="connsiteY26" fmla="*/ 3359592 h 3560811"/>
                <a:gd name="connsiteX27" fmla="*/ 665423 w 1515509"/>
                <a:gd name="connsiteY27" fmla="*/ 800418 h 3560811"/>
                <a:gd name="connsiteX28" fmla="*/ 692168 w 1515509"/>
                <a:gd name="connsiteY28" fmla="*/ 718912 h 3560811"/>
                <a:gd name="connsiteX29" fmla="*/ 718912 w 1515509"/>
                <a:gd name="connsiteY29" fmla="*/ 691531 h 3560811"/>
                <a:gd name="connsiteX30" fmla="*/ 803602 w 1515509"/>
                <a:gd name="connsiteY30" fmla="*/ 662240 h 3560811"/>
                <a:gd name="connsiteX31" fmla="*/ 941781 w 1515509"/>
                <a:gd name="connsiteY31" fmla="*/ 800418 h 3560811"/>
                <a:gd name="connsiteX32" fmla="*/ 832894 w 1515509"/>
                <a:gd name="connsiteY32" fmla="*/ 935413 h 3560811"/>
                <a:gd name="connsiteX33" fmla="*/ 803602 w 1515509"/>
                <a:gd name="connsiteY33" fmla="*/ 938597 h 3560811"/>
                <a:gd name="connsiteX34" fmla="*/ 794687 w 1515509"/>
                <a:gd name="connsiteY34" fmla="*/ 938597 h 3560811"/>
                <a:gd name="connsiteX35" fmla="*/ 665423 w 1515509"/>
                <a:gd name="connsiteY35" fmla="*/ 800418 h 356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5509" h="3560811">
                  <a:moveTo>
                    <a:pt x="1414900" y="3359592"/>
                  </a:moveTo>
                  <a:cubicBezTo>
                    <a:pt x="1393887" y="3359592"/>
                    <a:pt x="1374784" y="3365960"/>
                    <a:pt x="1358865" y="3376785"/>
                  </a:cubicBezTo>
                  <a:lnTo>
                    <a:pt x="562904" y="2580824"/>
                  </a:lnTo>
                  <a:lnTo>
                    <a:pt x="562904" y="1945965"/>
                  </a:lnTo>
                  <a:lnTo>
                    <a:pt x="833530" y="1675339"/>
                  </a:lnTo>
                  <a:lnTo>
                    <a:pt x="833530" y="974893"/>
                  </a:lnTo>
                  <a:cubicBezTo>
                    <a:pt x="916947" y="960884"/>
                    <a:pt x="980624" y="888293"/>
                    <a:pt x="980624" y="801055"/>
                  </a:cubicBezTo>
                  <a:cubicBezTo>
                    <a:pt x="980624" y="703630"/>
                    <a:pt x="901665" y="624670"/>
                    <a:pt x="804239" y="624670"/>
                  </a:cubicBezTo>
                  <a:cubicBezTo>
                    <a:pt x="761575" y="624670"/>
                    <a:pt x="722733" y="639953"/>
                    <a:pt x="692168" y="664787"/>
                  </a:cubicBez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0" y="156008"/>
                    <a:pt x="45210" y="201219"/>
                    <a:pt x="100609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156645" y="184026"/>
                  </a:lnTo>
                  <a:lnTo>
                    <a:pt x="664787" y="692168"/>
                  </a:lnTo>
                  <a:cubicBezTo>
                    <a:pt x="641226" y="722096"/>
                    <a:pt x="627217" y="760302"/>
                    <a:pt x="627217" y="801055"/>
                  </a:cubicBezTo>
                  <a:cubicBezTo>
                    <a:pt x="627217" y="895297"/>
                    <a:pt x="701719" y="972983"/>
                    <a:pt x="795324" y="977440"/>
                  </a:cubicBezTo>
                  <a:lnTo>
                    <a:pt x="795324" y="1660056"/>
                  </a:lnTo>
                  <a:lnTo>
                    <a:pt x="524697" y="1930683"/>
                  </a:lnTo>
                  <a:lnTo>
                    <a:pt x="524697" y="2597380"/>
                  </a:lnTo>
                  <a:lnTo>
                    <a:pt x="1331483" y="3404166"/>
                  </a:lnTo>
                  <a:cubicBezTo>
                    <a:pt x="1320659" y="3420085"/>
                    <a:pt x="1314291" y="3439825"/>
                    <a:pt x="1314291" y="3460202"/>
                  </a:cubicBezTo>
                  <a:cubicBezTo>
                    <a:pt x="1314291" y="3515601"/>
                    <a:pt x="1359501" y="3560811"/>
                    <a:pt x="1414900" y="3560811"/>
                  </a:cubicBezTo>
                  <a:cubicBezTo>
                    <a:pt x="1470299" y="3560811"/>
                    <a:pt x="1515510" y="3515601"/>
                    <a:pt x="1515510" y="3460202"/>
                  </a:cubicBezTo>
                  <a:cubicBezTo>
                    <a:pt x="1514873" y="3404166"/>
                    <a:pt x="1470299" y="3359592"/>
                    <a:pt x="1414900" y="3359592"/>
                  </a:cubicBezTo>
                  <a:close/>
                  <a:moveTo>
                    <a:pt x="665423" y="800418"/>
                  </a:moveTo>
                  <a:cubicBezTo>
                    <a:pt x="665423" y="769853"/>
                    <a:pt x="675612" y="741836"/>
                    <a:pt x="692168" y="718912"/>
                  </a:cubicBezTo>
                  <a:cubicBezTo>
                    <a:pt x="699809" y="708724"/>
                    <a:pt x="708724" y="699172"/>
                    <a:pt x="718912" y="691531"/>
                  </a:cubicBezTo>
                  <a:cubicBezTo>
                    <a:pt x="742472" y="673065"/>
                    <a:pt x="771764" y="662240"/>
                    <a:pt x="803602" y="662240"/>
                  </a:cubicBezTo>
                  <a:cubicBezTo>
                    <a:pt x="880014" y="662240"/>
                    <a:pt x="941781" y="724006"/>
                    <a:pt x="941781" y="800418"/>
                  </a:cubicBezTo>
                  <a:cubicBezTo>
                    <a:pt x="941781" y="866642"/>
                    <a:pt x="895297" y="922041"/>
                    <a:pt x="832894" y="935413"/>
                  </a:cubicBezTo>
                  <a:cubicBezTo>
                    <a:pt x="823342" y="937324"/>
                    <a:pt x="813154" y="938597"/>
                    <a:pt x="803602" y="938597"/>
                  </a:cubicBezTo>
                  <a:cubicBezTo>
                    <a:pt x="800418" y="938597"/>
                    <a:pt x="797871" y="938597"/>
                    <a:pt x="794687" y="938597"/>
                  </a:cubicBezTo>
                  <a:cubicBezTo>
                    <a:pt x="722733" y="933503"/>
                    <a:pt x="665423" y="873647"/>
                    <a:pt x="665423" y="80041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853F85F-E934-53B0-119E-28BDADCF7A5B}"/>
                </a:ext>
              </a:extLst>
            </p:cNvPr>
            <p:cNvSpPr/>
            <p:nvPr/>
          </p:nvSpPr>
          <p:spPr>
            <a:xfrm>
              <a:off x="3841201" y="4612116"/>
              <a:ext cx="2992176" cy="2189211"/>
            </a:xfrm>
            <a:custGeom>
              <a:avLst/>
              <a:gdLst>
                <a:gd name="connsiteX0" fmla="*/ 2890931 w 2992176"/>
                <a:gd name="connsiteY0" fmla="*/ 1987992 h 2189211"/>
                <a:gd name="connsiteX1" fmla="*/ 2834895 w 2992176"/>
                <a:gd name="connsiteY1" fmla="*/ 2005185 h 2189211"/>
                <a:gd name="connsiteX2" fmla="*/ 2054853 w 2992176"/>
                <a:gd name="connsiteY2" fmla="*/ 1224506 h 2189211"/>
                <a:gd name="connsiteX3" fmla="*/ 2049122 w 2992176"/>
                <a:gd name="connsiteY3" fmla="*/ 1218776 h 2189211"/>
                <a:gd name="connsiteX4" fmla="*/ 1903302 w 2992176"/>
                <a:gd name="connsiteY4" fmla="*/ 1218776 h 2189211"/>
                <a:gd name="connsiteX5" fmla="*/ 1727554 w 2992176"/>
                <a:gd name="connsiteY5" fmla="*/ 1059584 h 2189211"/>
                <a:gd name="connsiteX6" fmla="*/ 1551806 w 2992176"/>
                <a:gd name="connsiteY6" fmla="*/ 1218776 h 2189211"/>
                <a:gd name="connsiteX7" fmla="*/ 1245520 w 2992176"/>
                <a:gd name="connsiteY7" fmla="*/ 1218776 h 2189211"/>
                <a:gd name="connsiteX8" fmla="*/ 184026 w 2992176"/>
                <a:gd name="connsiteY8" fmla="*/ 156645 h 2189211"/>
                <a:gd name="connsiteX9" fmla="*/ 201219 w 2992176"/>
                <a:gd name="connsiteY9" fmla="*/ 100609 h 2189211"/>
                <a:gd name="connsiteX10" fmla="*/ 100610 w 2992176"/>
                <a:gd name="connsiteY10" fmla="*/ 0 h 2189211"/>
                <a:gd name="connsiteX11" fmla="*/ 0 w 2992176"/>
                <a:gd name="connsiteY11" fmla="*/ 100609 h 2189211"/>
                <a:gd name="connsiteX12" fmla="*/ 100610 w 2992176"/>
                <a:gd name="connsiteY12" fmla="*/ 201219 h 2189211"/>
                <a:gd name="connsiteX13" fmla="*/ 156645 w 2992176"/>
                <a:gd name="connsiteY13" fmla="*/ 184026 h 2189211"/>
                <a:gd name="connsiteX14" fmla="*/ 1224507 w 2992176"/>
                <a:gd name="connsiteY14" fmla="*/ 1251888 h 2189211"/>
                <a:gd name="connsiteX15" fmla="*/ 1230237 w 2992176"/>
                <a:gd name="connsiteY15" fmla="*/ 1257618 h 2189211"/>
                <a:gd name="connsiteX16" fmla="*/ 1553079 w 2992176"/>
                <a:gd name="connsiteY16" fmla="*/ 1257618 h 2189211"/>
                <a:gd name="connsiteX17" fmla="*/ 1728191 w 2992176"/>
                <a:gd name="connsiteY17" fmla="*/ 1413627 h 2189211"/>
                <a:gd name="connsiteX18" fmla="*/ 1903302 w 2992176"/>
                <a:gd name="connsiteY18" fmla="*/ 1257618 h 2189211"/>
                <a:gd name="connsiteX19" fmla="*/ 2033203 w 2992176"/>
                <a:gd name="connsiteY19" fmla="*/ 1257618 h 2189211"/>
                <a:gd name="connsiteX20" fmla="*/ 2808151 w 2992176"/>
                <a:gd name="connsiteY20" fmla="*/ 2032566 h 2189211"/>
                <a:gd name="connsiteX21" fmla="*/ 2808151 w 2992176"/>
                <a:gd name="connsiteY21" fmla="*/ 2032566 h 2189211"/>
                <a:gd name="connsiteX22" fmla="*/ 2790958 w 2992176"/>
                <a:gd name="connsiteY22" fmla="*/ 2088602 h 2189211"/>
                <a:gd name="connsiteX23" fmla="*/ 2891567 w 2992176"/>
                <a:gd name="connsiteY23" fmla="*/ 2189211 h 2189211"/>
                <a:gd name="connsiteX24" fmla="*/ 2992177 w 2992176"/>
                <a:gd name="connsiteY24" fmla="*/ 2088602 h 2189211"/>
                <a:gd name="connsiteX25" fmla="*/ 2890931 w 2992176"/>
                <a:gd name="connsiteY25" fmla="*/ 1987992 h 2189211"/>
                <a:gd name="connsiteX26" fmla="*/ 1727554 w 2992176"/>
                <a:gd name="connsiteY26" fmla="*/ 1374784 h 2189211"/>
                <a:gd name="connsiteX27" fmla="*/ 1590649 w 2992176"/>
                <a:gd name="connsiteY27" fmla="*/ 1256982 h 2189211"/>
                <a:gd name="connsiteX28" fmla="*/ 1589375 w 2992176"/>
                <a:gd name="connsiteY28" fmla="*/ 1236605 h 2189211"/>
                <a:gd name="connsiteX29" fmla="*/ 1590649 w 2992176"/>
                <a:gd name="connsiteY29" fmla="*/ 1218776 h 2189211"/>
                <a:gd name="connsiteX30" fmla="*/ 1727554 w 2992176"/>
                <a:gd name="connsiteY30" fmla="*/ 1098426 h 2189211"/>
                <a:gd name="connsiteX31" fmla="*/ 1864459 w 2992176"/>
                <a:gd name="connsiteY31" fmla="*/ 1218776 h 2189211"/>
                <a:gd name="connsiteX32" fmla="*/ 1865733 w 2992176"/>
                <a:gd name="connsiteY32" fmla="*/ 1236605 h 2189211"/>
                <a:gd name="connsiteX33" fmla="*/ 1864459 w 2992176"/>
                <a:gd name="connsiteY33" fmla="*/ 1256982 h 2189211"/>
                <a:gd name="connsiteX34" fmla="*/ 1727554 w 2992176"/>
                <a:gd name="connsiteY34" fmla="*/ 1374784 h 2189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9211">
                  <a:moveTo>
                    <a:pt x="2890931" y="1987992"/>
                  </a:moveTo>
                  <a:cubicBezTo>
                    <a:pt x="2869917" y="1987992"/>
                    <a:pt x="2850814" y="1994360"/>
                    <a:pt x="2834895" y="2005185"/>
                  </a:cubicBezTo>
                  <a:lnTo>
                    <a:pt x="2054853" y="1224506"/>
                  </a:lnTo>
                  <a:lnTo>
                    <a:pt x="2049122" y="1218776"/>
                  </a:lnTo>
                  <a:lnTo>
                    <a:pt x="1903302" y="1218776"/>
                  </a:lnTo>
                  <a:cubicBezTo>
                    <a:pt x="1894387" y="1129628"/>
                    <a:pt x="1819248" y="1059584"/>
                    <a:pt x="1727554" y="1059584"/>
                  </a:cubicBezTo>
                  <a:cubicBezTo>
                    <a:pt x="1636496" y="1059584"/>
                    <a:pt x="1560720" y="1129628"/>
                    <a:pt x="1551806" y="1218776"/>
                  </a:cubicBezTo>
                  <a:lnTo>
                    <a:pt x="1245520" y="1218776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1224507" y="1251888"/>
                  </a:lnTo>
                  <a:lnTo>
                    <a:pt x="1230237" y="1257618"/>
                  </a:lnTo>
                  <a:lnTo>
                    <a:pt x="1553079" y="1257618"/>
                  </a:lnTo>
                  <a:cubicBezTo>
                    <a:pt x="1563268" y="1345492"/>
                    <a:pt x="1637769" y="1413627"/>
                    <a:pt x="1728191" y="1413627"/>
                  </a:cubicBezTo>
                  <a:cubicBezTo>
                    <a:pt x="1818612" y="1413627"/>
                    <a:pt x="1893114" y="1345492"/>
                    <a:pt x="1903302" y="1257618"/>
                  </a:cubicBezTo>
                  <a:lnTo>
                    <a:pt x="2033203" y="1257618"/>
                  </a:lnTo>
                  <a:lnTo>
                    <a:pt x="2808151" y="2032566"/>
                  </a:lnTo>
                  <a:lnTo>
                    <a:pt x="2808151" y="2032566"/>
                  </a:lnTo>
                  <a:cubicBezTo>
                    <a:pt x="2797326" y="2048485"/>
                    <a:pt x="2790958" y="2068225"/>
                    <a:pt x="2790958" y="2088602"/>
                  </a:cubicBezTo>
                  <a:cubicBezTo>
                    <a:pt x="2790958" y="2144001"/>
                    <a:pt x="2836168" y="2189211"/>
                    <a:pt x="2891567" y="2189211"/>
                  </a:cubicBezTo>
                  <a:cubicBezTo>
                    <a:pt x="2946966" y="2189211"/>
                    <a:pt x="2992177" y="2144001"/>
                    <a:pt x="2992177" y="2088602"/>
                  </a:cubicBezTo>
                  <a:cubicBezTo>
                    <a:pt x="2991540" y="2032566"/>
                    <a:pt x="2946966" y="1987992"/>
                    <a:pt x="2890931" y="1987992"/>
                  </a:cubicBezTo>
                  <a:close/>
                  <a:moveTo>
                    <a:pt x="1727554" y="1374784"/>
                  </a:moveTo>
                  <a:cubicBezTo>
                    <a:pt x="1658146" y="1374784"/>
                    <a:pt x="1600837" y="1323843"/>
                    <a:pt x="1590649" y="1256982"/>
                  </a:cubicBezTo>
                  <a:cubicBezTo>
                    <a:pt x="1589375" y="1249977"/>
                    <a:pt x="1589375" y="1243609"/>
                    <a:pt x="1589375" y="1236605"/>
                  </a:cubicBezTo>
                  <a:cubicBezTo>
                    <a:pt x="1589375" y="1230874"/>
                    <a:pt x="1590012" y="1224506"/>
                    <a:pt x="1590649" y="1218776"/>
                  </a:cubicBezTo>
                  <a:cubicBezTo>
                    <a:pt x="1599563" y="1150641"/>
                    <a:pt x="1657509" y="1098426"/>
                    <a:pt x="1727554" y="1098426"/>
                  </a:cubicBezTo>
                  <a:cubicBezTo>
                    <a:pt x="1797599" y="1098426"/>
                    <a:pt x="1856181" y="1151278"/>
                    <a:pt x="1864459" y="1218776"/>
                  </a:cubicBezTo>
                  <a:cubicBezTo>
                    <a:pt x="1865096" y="1224506"/>
                    <a:pt x="1865733" y="1230237"/>
                    <a:pt x="1865733" y="1236605"/>
                  </a:cubicBezTo>
                  <a:cubicBezTo>
                    <a:pt x="1865733" y="1243609"/>
                    <a:pt x="1865096" y="1250614"/>
                    <a:pt x="1864459" y="1256982"/>
                  </a:cubicBezTo>
                  <a:cubicBezTo>
                    <a:pt x="1854271" y="1323843"/>
                    <a:pt x="1796962" y="1374784"/>
                    <a:pt x="1727554" y="137478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496729B-12D9-42ED-2E3D-65F8C41161BD}"/>
                </a:ext>
              </a:extLst>
            </p:cNvPr>
            <p:cNvSpPr/>
            <p:nvPr/>
          </p:nvSpPr>
          <p:spPr>
            <a:xfrm>
              <a:off x="4204159" y="3987446"/>
              <a:ext cx="2075229" cy="1111161"/>
            </a:xfrm>
            <a:custGeom>
              <a:avLst/>
              <a:gdLst>
                <a:gd name="connsiteX0" fmla="*/ 100610 w 2075229"/>
                <a:gd name="connsiteY0" fmla="*/ 0 h 1111161"/>
                <a:gd name="connsiteX1" fmla="*/ 0 w 2075229"/>
                <a:gd name="connsiteY1" fmla="*/ 100609 h 1111161"/>
                <a:gd name="connsiteX2" fmla="*/ 100610 w 2075229"/>
                <a:gd name="connsiteY2" fmla="*/ 201219 h 1111161"/>
                <a:gd name="connsiteX3" fmla="*/ 153461 w 2075229"/>
                <a:gd name="connsiteY3" fmla="*/ 185937 h 1111161"/>
                <a:gd name="connsiteX4" fmla="*/ 992086 w 2075229"/>
                <a:gd name="connsiteY4" fmla="*/ 1023924 h 1111161"/>
                <a:gd name="connsiteX5" fmla="*/ 997817 w 2075229"/>
                <a:gd name="connsiteY5" fmla="*/ 1029655 h 1111161"/>
                <a:gd name="connsiteX6" fmla="*/ 1875921 w 2075229"/>
                <a:gd name="connsiteY6" fmla="*/ 1029655 h 1111161"/>
                <a:gd name="connsiteX7" fmla="*/ 1974620 w 2075229"/>
                <a:gd name="connsiteY7" fmla="*/ 1111162 h 1111161"/>
                <a:gd name="connsiteX8" fmla="*/ 2075230 w 2075229"/>
                <a:gd name="connsiteY8" fmla="*/ 1010552 h 1111161"/>
                <a:gd name="connsiteX9" fmla="*/ 1974620 w 2075229"/>
                <a:gd name="connsiteY9" fmla="*/ 909942 h 1111161"/>
                <a:gd name="connsiteX10" fmla="*/ 1875921 w 2075229"/>
                <a:gd name="connsiteY10" fmla="*/ 991449 h 1111161"/>
                <a:gd name="connsiteX11" fmla="*/ 1013099 w 2075229"/>
                <a:gd name="connsiteY11" fmla="*/ 991449 h 1111161"/>
                <a:gd name="connsiteX12" fmla="*/ 181479 w 2075229"/>
                <a:gd name="connsiteY12" fmla="*/ 159829 h 1111161"/>
                <a:gd name="connsiteX13" fmla="*/ 200582 w 2075229"/>
                <a:gd name="connsiteY13" fmla="*/ 100609 h 1111161"/>
                <a:gd name="connsiteX14" fmla="*/ 100610 w 2075229"/>
                <a:gd name="connsiteY14" fmla="*/ 0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5229" h="1111161">
                  <a:moveTo>
                    <a:pt x="100610" y="0"/>
                  </a:move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0349" y="201219"/>
                    <a:pt x="138179" y="195488"/>
                    <a:pt x="153461" y="185937"/>
                  </a:cubicBezTo>
                  <a:lnTo>
                    <a:pt x="992086" y="1023924"/>
                  </a:lnTo>
                  <a:lnTo>
                    <a:pt x="997817" y="1029655"/>
                  </a:lnTo>
                  <a:lnTo>
                    <a:pt x="1875921" y="1029655"/>
                  </a:lnTo>
                  <a:cubicBezTo>
                    <a:pt x="1884836" y="1076139"/>
                    <a:pt x="1925589" y="1111162"/>
                    <a:pt x="1974620" y="1111162"/>
                  </a:cubicBezTo>
                  <a:cubicBezTo>
                    <a:pt x="2030019" y="1111162"/>
                    <a:pt x="2075230" y="1065951"/>
                    <a:pt x="2075230" y="1010552"/>
                  </a:cubicBezTo>
                  <a:cubicBezTo>
                    <a:pt x="2075230" y="955153"/>
                    <a:pt x="2030019" y="909942"/>
                    <a:pt x="1974620" y="909942"/>
                  </a:cubicBezTo>
                  <a:cubicBezTo>
                    <a:pt x="1925589" y="909942"/>
                    <a:pt x="1884836" y="944965"/>
                    <a:pt x="1875921" y="991449"/>
                  </a:cubicBezTo>
                  <a:lnTo>
                    <a:pt x="1013099" y="991449"/>
                  </a:lnTo>
                  <a:lnTo>
                    <a:pt x="181479" y="159829"/>
                  </a:lnTo>
                  <a:cubicBezTo>
                    <a:pt x="193578" y="143273"/>
                    <a:pt x="200582" y="122896"/>
                    <a:pt x="200582" y="100609"/>
                  </a:cubicBezTo>
                  <a:cubicBezTo>
                    <a:pt x="201219" y="45210"/>
                    <a:pt x="156008" y="0"/>
                    <a:pt x="10061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28263FE-1C6B-6AEE-F4CB-659B04CA7CD0}"/>
                </a:ext>
              </a:extLst>
            </p:cNvPr>
            <p:cNvSpPr/>
            <p:nvPr/>
          </p:nvSpPr>
          <p:spPr>
            <a:xfrm>
              <a:off x="4714847" y="3133539"/>
              <a:ext cx="2117893" cy="1407258"/>
            </a:xfrm>
            <a:custGeom>
              <a:avLst/>
              <a:gdLst>
                <a:gd name="connsiteX0" fmla="*/ 2017284 w 2117893"/>
                <a:gd name="connsiteY0" fmla="*/ 1206040 h 1407258"/>
                <a:gd name="connsiteX1" fmla="*/ 1956791 w 2117893"/>
                <a:gd name="connsiteY1" fmla="*/ 1226417 h 1407258"/>
                <a:gd name="connsiteX2" fmla="*/ 1956791 w 2117893"/>
                <a:gd name="connsiteY2" fmla="*/ 1226417 h 1407258"/>
                <a:gd name="connsiteX3" fmla="*/ 1522515 w 2117893"/>
                <a:gd name="connsiteY3" fmla="*/ 792140 h 1407258"/>
                <a:gd name="connsiteX4" fmla="*/ 1562631 w 2117893"/>
                <a:gd name="connsiteY4" fmla="*/ 680706 h 1407258"/>
                <a:gd name="connsiteX5" fmla="*/ 1386246 w 2117893"/>
                <a:gd name="connsiteY5" fmla="*/ 504321 h 1407258"/>
                <a:gd name="connsiteX6" fmla="*/ 1274811 w 2117893"/>
                <a:gd name="connsiteY6" fmla="*/ 544437 h 1407258"/>
                <a:gd name="connsiteX7" fmla="*/ 817611 w 2117893"/>
                <a:gd name="connsiteY7" fmla="*/ 87237 h 1407258"/>
                <a:gd name="connsiteX8" fmla="*/ 811880 w 2117893"/>
                <a:gd name="connsiteY8" fmla="*/ 81506 h 1407258"/>
                <a:gd name="connsiteX9" fmla="*/ 199309 w 2117893"/>
                <a:gd name="connsiteY9" fmla="*/ 81506 h 1407258"/>
                <a:gd name="connsiteX10" fmla="*/ 100610 w 2117893"/>
                <a:gd name="connsiteY10" fmla="*/ 0 h 1407258"/>
                <a:gd name="connsiteX11" fmla="*/ 0 w 2117893"/>
                <a:gd name="connsiteY11" fmla="*/ 100609 h 1407258"/>
                <a:gd name="connsiteX12" fmla="*/ 100610 w 2117893"/>
                <a:gd name="connsiteY12" fmla="*/ 201219 h 1407258"/>
                <a:gd name="connsiteX13" fmla="*/ 199309 w 2117893"/>
                <a:gd name="connsiteY13" fmla="*/ 119712 h 1407258"/>
                <a:gd name="connsiteX14" fmla="*/ 795961 w 2117893"/>
                <a:gd name="connsiteY14" fmla="*/ 119712 h 1407258"/>
                <a:gd name="connsiteX15" fmla="*/ 1247430 w 2117893"/>
                <a:gd name="connsiteY15" fmla="*/ 571182 h 1407258"/>
                <a:gd name="connsiteX16" fmla="*/ 1209224 w 2117893"/>
                <a:gd name="connsiteY16" fmla="*/ 680706 h 1407258"/>
                <a:gd name="connsiteX17" fmla="*/ 1385609 w 2117893"/>
                <a:gd name="connsiteY17" fmla="*/ 857091 h 1407258"/>
                <a:gd name="connsiteX18" fmla="*/ 1495134 w 2117893"/>
                <a:gd name="connsiteY18" fmla="*/ 818885 h 1407258"/>
                <a:gd name="connsiteX19" fmla="*/ 1931320 w 2117893"/>
                <a:gd name="connsiteY19" fmla="*/ 1255071 h 1407258"/>
                <a:gd name="connsiteX20" fmla="*/ 1916674 w 2117893"/>
                <a:gd name="connsiteY20" fmla="*/ 1306650 h 1407258"/>
                <a:gd name="connsiteX21" fmla="*/ 2017284 w 2117893"/>
                <a:gd name="connsiteY21" fmla="*/ 1407259 h 1407258"/>
                <a:gd name="connsiteX22" fmla="*/ 2117893 w 2117893"/>
                <a:gd name="connsiteY22" fmla="*/ 1306650 h 1407258"/>
                <a:gd name="connsiteX23" fmla="*/ 2017284 w 2117893"/>
                <a:gd name="connsiteY23" fmla="*/ 1206040 h 1407258"/>
                <a:gd name="connsiteX24" fmla="*/ 1467752 w 2117893"/>
                <a:gd name="connsiteY24" fmla="*/ 791504 h 1407258"/>
                <a:gd name="connsiteX25" fmla="*/ 1385609 w 2117893"/>
                <a:gd name="connsiteY25" fmla="*/ 818885 h 1407258"/>
                <a:gd name="connsiteX26" fmla="*/ 1247430 w 2117893"/>
                <a:gd name="connsiteY26" fmla="*/ 680706 h 1407258"/>
                <a:gd name="connsiteX27" fmla="*/ 1274811 w 2117893"/>
                <a:gd name="connsiteY27" fmla="*/ 598563 h 1407258"/>
                <a:gd name="connsiteX28" fmla="*/ 1301556 w 2117893"/>
                <a:gd name="connsiteY28" fmla="*/ 571182 h 1407258"/>
                <a:gd name="connsiteX29" fmla="*/ 1386246 w 2117893"/>
                <a:gd name="connsiteY29" fmla="*/ 542527 h 1407258"/>
                <a:gd name="connsiteX30" fmla="*/ 1524425 w 2117893"/>
                <a:gd name="connsiteY30" fmla="*/ 680706 h 1407258"/>
                <a:gd name="connsiteX31" fmla="*/ 1495770 w 2117893"/>
                <a:gd name="connsiteY31" fmla="*/ 765396 h 1407258"/>
                <a:gd name="connsiteX32" fmla="*/ 1467752 w 2117893"/>
                <a:gd name="connsiteY32" fmla="*/ 791504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2017284" y="1206040"/>
                  </a:moveTo>
                  <a:cubicBezTo>
                    <a:pt x="1994360" y="1206040"/>
                    <a:pt x="1973983" y="1213681"/>
                    <a:pt x="1956791" y="1226417"/>
                  </a:cubicBezTo>
                  <a:lnTo>
                    <a:pt x="1956791" y="1226417"/>
                  </a:lnTo>
                  <a:lnTo>
                    <a:pt x="1522515" y="792140"/>
                  </a:lnTo>
                  <a:cubicBezTo>
                    <a:pt x="1547348" y="761576"/>
                    <a:pt x="1562631" y="722732"/>
                    <a:pt x="1562631" y="680706"/>
                  </a:cubicBezTo>
                  <a:cubicBezTo>
                    <a:pt x="1562631" y="583280"/>
                    <a:pt x="1483671" y="504321"/>
                    <a:pt x="1386246" y="504321"/>
                  </a:cubicBezTo>
                  <a:cubicBezTo>
                    <a:pt x="1344219" y="504321"/>
                    <a:pt x="1304740" y="518966"/>
                    <a:pt x="1274811" y="544437"/>
                  </a:cubicBezTo>
                  <a:lnTo>
                    <a:pt x="817611" y="87237"/>
                  </a:lnTo>
                  <a:lnTo>
                    <a:pt x="81188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795961" y="119712"/>
                  </a:lnTo>
                  <a:lnTo>
                    <a:pt x="1247430" y="571182"/>
                  </a:lnTo>
                  <a:cubicBezTo>
                    <a:pt x="1223233" y="601110"/>
                    <a:pt x="1209224" y="639316"/>
                    <a:pt x="1209224" y="680706"/>
                  </a:cubicBezTo>
                  <a:cubicBezTo>
                    <a:pt x="1209224" y="778131"/>
                    <a:pt x="1288184" y="857091"/>
                    <a:pt x="1385609" y="857091"/>
                  </a:cubicBezTo>
                  <a:cubicBezTo>
                    <a:pt x="1426999" y="857091"/>
                    <a:pt x="1465205" y="843082"/>
                    <a:pt x="1495134" y="818885"/>
                  </a:cubicBezTo>
                  <a:lnTo>
                    <a:pt x="1931320" y="1255071"/>
                  </a:lnTo>
                  <a:cubicBezTo>
                    <a:pt x="1922405" y="1270354"/>
                    <a:pt x="1916674" y="1287546"/>
                    <a:pt x="1916674" y="1306650"/>
                  </a:cubicBezTo>
                  <a:cubicBezTo>
                    <a:pt x="1916674" y="1362048"/>
                    <a:pt x="1961885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3320" y="1206040"/>
                    <a:pt x="2017284" y="1206040"/>
                  </a:cubicBezTo>
                  <a:close/>
                  <a:moveTo>
                    <a:pt x="1467752" y="791504"/>
                  </a:moveTo>
                  <a:cubicBezTo>
                    <a:pt x="1444829" y="808696"/>
                    <a:pt x="1416174" y="818885"/>
                    <a:pt x="1385609" y="818885"/>
                  </a:cubicBezTo>
                  <a:cubicBezTo>
                    <a:pt x="1309197" y="818885"/>
                    <a:pt x="1247430" y="757118"/>
                    <a:pt x="1247430" y="680706"/>
                  </a:cubicBezTo>
                  <a:cubicBezTo>
                    <a:pt x="1247430" y="650141"/>
                    <a:pt x="1257618" y="621486"/>
                    <a:pt x="1274811" y="598563"/>
                  </a:cubicBezTo>
                  <a:cubicBezTo>
                    <a:pt x="1282453" y="588374"/>
                    <a:pt x="1291368" y="578823"/>
                    <a:pt x="1301556" y="571182"/>
                  </a:cubicBezTo>
                  <a:cubicBezTo>
                    <a:pt x="1325116" y="553352"/>
                    <a:pt x="1354407" y="542527"/>
                    <a:pt x="1386246" y="542527"/>
                  </a:cubicBezTo>
                  <a:cubicBezTo>
                    <a:pt x="1462658" y="542527"/>
                    <a:pt x="1524425" y="604294"/>
                    <a:pt x="1524425" y="680706"/>
                  </a:cubicBezTo>
                  <a:cubicBezTo>
                    <a:pt x="1524425" y="712544"/>
                    <a:pt x="1513600" y="741835"/>
                    <a:pt x="1495770" y="765396"/>
                  </a:cubicBezTo>
                  <a:cubicBezTo>
                    <a:pt x="1487492" y="774311"/>
                    <a:pt x="1478577" y="783862"/>
                    <a:pt x="1467752" y="79150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66B95C3-4A80-AE20-E2D5-839C417C576B}"/>
                </a:ext>
              </a:extLst>
            </p:cNvPr>
            <p:cNvSpPr/>
            <p:nvPr/>
          </p:nvSpPr>
          <p:spPr>
            <a:xfrm>
              <a:off x="4714211" y="2865459"/>
              <a:ext cx="2584644" cy="1247430"/>
            </a:xfrm>
            <a:custGeom>
              <a:avLst/>
              <a:gdLst>
                <a:gd name="connsiteX0" fmla="*/ 2484035 w 2584644"/>
                <a:gd name="connsiteY0" fmla="*/ 1046848 h 1247430"/>
                <a:gd name="connsiteX1" fmla="*/ 2433731 w 2584644"/>
                <a:gd name="connsiteY1" fmla="*/ 1060220 h 1247430"/>
                <a:gd name="connsiteX2" fmla="*/ 1854908 w 2584644"/>
                <a:gd name="connsiteY2" fmla="*/ 481397 h 1247430"/>
                <a:gd name="connsiteX3" fmla="*/ 1369690 w 2584644"/>
                <a:gd name="connsiteY3" fmla="*/ 481397 h 1247430"/>
                <a:gd name="connsiteX4" fmla="*/ 969799 w 2584644"/>
                <a:gd name="connsiteY4" fmla="*/ 81506 h 1247430"/>
                <a:gd name="connsiteX5" fmla="*/ 199309 w 2584644"/>
                <a:gd name="connsiteY5" fmla="*/ 81506 h 1247430"/>
                <a:gd name="connsiteX6" fmla="*/ 100609 w 2584644"/>
                <a:gd name="connsiteY6" fmla="*/ 0 h 1247430"/>
                <a:gd name="connsiteX7" fmla="*/ 0 w 2584644"/>
                <a:gd name="connsiteY7" fmla="*/ 100609 h 1247430"/>
                <a:gd name="connsiteX8" fmla="*/ 100609 w 2584644"/>
                <a:gd name="connsiteY8" fmla="*/ 201219 h 1247430"/>
                <a:gd name="connsiteX9" fmla="*/ 199309 w 2584644"/>
                <a:gd name="connsiteY9" fmla="*/ 119712 h 1247430"/>
                <a:gd name="connsiteX10" fmla="*/ 953880 w 2584644"/>
                <a:gd name="connsiteY10" fmla="*/ 119712 h 1247430"/>
                <a:gd name="connsiteX11" fmla="*/ 1353770 w 2584644"/>
                <a:gd name="connsiteY11" fmla="*/ 519603 h 1247430"/>
                <a:gd name="connsiteX12" fmla="*/ 1838988 w 2584644"/>
                <a:gd name="connsiteY12" fmla="*/ 519603 h 1247430"/>
                <a:gd name="connsiteX13" fmla="*/ 2404439 w 2584644"/>
                <a:gd name="connsiteY13" fmla="*/ 1085054 h 1247430"/>
                <a:gd name="connsiteX14" fmla="*/ 2383426 w 2584644"/>
                <a:gd name="connsiteY14" fmla="*/ 1146821 h 1247430"/>
                <a:gd name="connsiteX15" fmla="*/ 2484035 w 2584644"/>
                <a:gd name="connsiteY15" fmla="*/ 1247430 h 1247430"/>
                <a:gd name="connsiteX16" fmla="*/ 2584645 w 2584644"/>
                <a:gd name="connsiteY16" fmla="*/ 1146821 h 1247430"/>
                <a:gd name="connsiteX17" fmla="*/ 2484035 w 2584644"/>
                <a:gd name="connsiteY17" fmla="*/ 1046848 h 1247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4644" h="1247430">
                  <a:moveTo>
                    <a:pt x="2484035" y="1046848"/>
                  </a:moveTo>
                  <a:cubicBezTo>
                    <a:pt x="2465569" y="1046848"/>
                    <a:pt x="2448376" y="1051942"/>
                    <a:pt x="2433731" y="1060220"/>
                  </a:cubicBezTo>
                  <a:lnTo>
                    <a:pt x="1854908" y="481397"/>
                  </a:lnTo>
                  <a:lnTo>
                    <a:pt x="1369690" y="481397"/>
                  </a:lnTo>
                  <a:lnTo>
                    <a:pt x="969799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953880" y="119712"/>
                  </a:lnTo>
                  <a:lnTo>
                    <a:pt x="1353770" y="519603"/>
                  </a:lnTo>
                  <a:lnTo>
                    <a:pt x="1838988" y="519603"/>
                  </a:lnTo>
                  <a:lnTo>
                    <a:pt x="2404439" y="1085054"/>
                  </a:lnTo>
                  <a:cubicBezTo>
                    <a:pt x="2391067" y="1102247"/>
                    <a:pt x="2383426" y="1123260"/>
                    <a:pt x="2383426" y="1146821"/>
                  </a:cubicBezTo>
                  <a:cubicBezTo>
                    <a:pt x="2383426" y="1202219"/>
                    <a:pt x="2428637" y="1247430"/>
                    <a:pt x="2484035" y="1247430"/>
                  </a:cubicBezTo>
                  <a:cubicBezTo>
                    <a:pt x="2539434" y="1247430"/>
                    <a:pt x="2584645" y="1202219"/>
                    <a:pt x="2584645" y="1146821"/>
                  </a:cubicBezTo>
                  <a:cubicBezTo>
                    <a:pt x="2584645" y="1091422"/>
                    <a:pt x="2539434" y="1046848"/>
                    <a:pt x="2484035" y="104684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0B6A9DA-64D8-5795-1E90-B7FC21720312}"/>
                </a:ext>
              </a:extLst>
            </p:cNvPr>
            <p:cNvSpPr/>
            <p:nvPr/>
          </p:nvSpPr>
          <p:spPr>
            <a:xfrm>
              <a:off x="1431668" y="648230"/>
              <a:ext cx="5929596" cy="2496770"/>
            </a:xfrm>
            <a:custGeom>
              <a:avLst/>
              <a:gdLst>
                <a:gd name="connsiteX0" fmla="*/ 5802874 w 5929596"/>
                <a:gd name="connsiteY0" fmla="*/ 2242700 h 2496770"/>
                <a:gd name="connsiteX1" fmla="*/ 5681252 w 5929596"/>
                <a:gd name="connsiteY1" fmla="*/ 2331847 h 2496770"/>
                <a:gd name="connsiteX2" fmla="*/ 4766851 w 5929596"/>
                <a:gd name="connsiteY2" fmla="*/ 2331847 h 2496770"/>
                <a:gd name="connsiteX3" fmla="*/ 4466933 w 5929596"/>
                <a:gd name="connsiteY3" fmla="*/ 2031929 h 2496770"/>
                <a:gd name="connsiteX4" fmla="*/ 3102338 w 5929596"/>
                <a:gd name="connsiteY4" fmla="*/ 2031929 h 2496770"/>
                <a:gd name="connsiteX5" fmla="*/ 2063768 w 5929596"/>
                <a:gd name="connsiteY5" fmla="*/ 992723 h 2496770"/>
                <a:gd name="connsiteX6" fmla="*/ 2063768 w 5929596"/>
                <a:gd name="connsiteY6" fmla="*/ 325389 h 2496770"/>
                <a:gd name="connsiteX7" fmla="*/ 1738379 w 5929596"/>
                <a:gd name="connsiteY7" fmla="*/ 0 h 2496770"/>
                <a:gd name="connsiteX8" fmla="*/ 0 w 5929596"/>
                <a:gd name="connsiteY8" fmla="*/ 0 h 2496770"/>
                <a:gd name="connsiteX9" fmla="*/ 0 w 5929596"/>
                <a:gd name="connsiteY9" fmla="*/ 76412 h 2496770"/>
                <a:gd name="connsiteX10" fmla="*/ 1705904 w 5929596"/>
                <a:gd name="connsiteY10" fmla="*/ 76412 h 2496770"/>
                <a:gd name="connsiteX11" fmla="*/ 1986719 w 5929596"/>
                <a:gd name="connsiteY11" fmla="*/ 357227 h 2496770"/>
                <a:gd name="connsiteX12" fmla="*/ 1986719 w 5929596"/>
                <a:gd name="connsiteY12" fmla="*/ 1023924 h 2496770"/>
                <a:gd name="connsiteX13" fmla="*/ 3070499 w 5929596"/>
                <a:gd name="connsiteY13" fmla="*/ 2107705 h 2496770"/>
                <a:gd name="connsiteX14" fmla="*/ 4434458 w 5929596"/>
                <a:gd name="connsiteY14" fmla="*/ 2107705 h 2496770"/>
                <a:gd name="connsiteX15" fmla="*/ 4734376 w 5929596"/>
                <a:gd name="connsiteY15" fmla="*/ 2407623 h 2496770"/>
                <a:gd name="connsiteX16" fmla="*/ 5680615 w 5929596"/>
                <a:gd name="connsiteY16" fmla="*/ 2407623 h 2496770"/>
                <a:gd name="connsiteX17" fmla="*/ 5802238 w 5929596"/>
                <a:gd name="connsiteY17" fmla="*/ 2496771 h 2496770"/>
                <a:gd name="connsiteX18" fmla="*/ 5929591 w 5929596"/>
                <a:gd name="connsiteY18" fmla="*/ 2369417 h 2496770"/>
                <a:gd name="connsiteX19" fmla="*/ 5802874 w 5929596"/>
                <a:gd name="connsiteY19" fmla="*/ 2242700 h 249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9596" h="2496770">
                  <a:moveTo>
                    <a:pt x="5802874" y="2242700"/>
                  </a:moveTo>
                  <a:cubicBezTo>
                    <a:pt x="5746202" y="2242700"/>
                    <a:pt x="5697807" y="2280269"/>
                    <a:pt x="5681252" y="2331847"/>
                  </a:cubicBezTo>
                  <a:lnTo>
                    <a:pt x="4766851" y="2331847"/>
                  </a:lnTo>
                  <a:lnTo>
                    <a:pt x="4466933" y="2031929"/>
                  </a:lnTo>
                  <a:lnTo>
                    <a:pt x="3102338" y="2031929"/>
                  </a:lnTo>
                  <a:lnTo>
                    <a:pt x="2063768" y="992723"/>
                  </a:lnTo>
                  <a:lnTo>
                    <a:pt x="2063768" y="325389"/>
                  </a:lnTo>
                  <a:lnTo>
                    <a:pt x="1738379" y="0"/>
                  </a:lnTo>
                  <a:lnTo>
                    <a:pt x="0" y="0"/>
                  </a:lnTo>
                  <a:lnTo>
                    <a:pt x="0" y="76412"/>
                  </a:lnTo>
                  <a:lnTo>
                    <a:pt x="1705904" y="76412"/>
                  </a:lnTo>
                  <a:lnTo>
                    <a:pt x="1986719" y="357227"/>
                  </a:lnTo>
                  <a:lnTo>
                    <a:pt x="1986719" y="1023924"/>
                  </a:lnTo>
                  <a:lnTo>
                    <a:pt x="3070499" y="2107705"/>
                  </a:lnTo>
                  <a:lnTo>
                    <a:pt x="4434458" y="2107705"/>
                  </a:lnTo>
                  <a:lnTo>
                    <a:pt x="4734376" y="2407623"/>
                  </a:lnTo>
                  <a:lnTo>
                    <a:pt x="5680615" y="2407623"/>
                  </a:lnTo>
                  <a:cubicBezTo>
                    <a:pt x="5697171" y="2459201"/>
                    <a:pt x="5744928" y="2496771"/>
                    <a:pt x="5802238" y="2496771"/>
                  </a:cubicBezTo>
                  <a:cubicBezTo>
                    <a:pt x="5872282" y="2496771"/>
                    <a:pt x="5929591" y="2439461"/>
                    <a:pt x="5929591" y="2369417"/>
                  </a:cubicBezTo>
                  <a:cubicBezTo>
                    <a:pt x="5930228" y="2299372"/>
                    <a:pt x="5872919" y="2242700"/>
                    <a:pt x="5802874" y="224270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BE635F6-91B1-55E9-C620-15EF437C75AD}"/>
                </a:ext>
              </a:extLst>
            </p:cNvPr>
            <p:cNvSpPr/>
            <p:nvPr/>
          </p:nvSpPr>
          <p:spPr>
            <a:xfrm>
              <a:off x="1431668" y="1055762"/>
              <a:ext cx="1551805" cy="4437004"/>
            </a:xfrm>
            <a:custGeom>
              <a:avLst/>
              <a:gdLst>
                <a:gd name="connsiteX0" fmla="*/ 791504 w 1551805"/>
                <a:gd name="connsiteY0" fmla="*/ 353407 h 4437004"/>
                <a:gd name="connsiteX1" fmla="*/ 967252 w 1551805"/>
                <a:gd name="connsiteY1" fmla="*/ 196125 h 4437004"/>
                <a:gd name="connsiteX2" fmla="*/ 1181206 w 1551805"/>
                <a:gd name="connsiteY2" fmla="*/ 196125 h 4437004"/>
                <a:gd name="connsiteX3" fmla="*/ 1305376 w 1551805"/>
                <a:gd name="connsiteY3" fmla="*/ 320295 h 4437004"/>
                <a:gd name="connsiteX4" fmla="*/ 1305376 w 1551805"/>
                <a:gd name="connsiteY4" fmla="*/ 788957 h 4437004"/>
                <a:gd name="connsiteX5" fmla="*/ 785136 w 1551805"/>
                <a:gd name="connsiteY5" fmla="*/ 1309197 h 4437004"/>
                <a:gd name="connsiteX6" fmla="*/ 785136 w 1551805"/>
                <a:gd name="connsiteY6" fmla="*/ 2840626 h 4437004"/>
                <a:gd name="connsiteX7" fmla="*/ 1432093 w 1551805"/>
                <a:gd name="connsiteY7" fmla="*/ 3487583 h 4437004"/>
                <a:gd name="connsiteX8" fmla="*/ 1432093 w 1551805"/>
                <a:gd name="connsiteY8" fmla="*/ 4237697 h 4437004"/>
                <a:gd name="connsiteX9" fmla="*/ 1350587 w 1551805"/>
                <a:gd name="connsiteY9" fmla="*/ 4336396 h 4437004"/>
                <a:gd name="connsiteX10" fmla="*/ 1451196 w 1551805"/>
                <a:gd name="connsiteY10" fmla="*/ 4437005 h 4437004"/>
                <a:gd name="connsiteX11" fmla="*/ 1551806 w 1551805"/>
                <a:gd name="connsiteY11" fmla="*/ 4336396 h 4437004"/>
                <a:gd name="connsiteX12" fmla="*/ 1470299 w 1551805"/>
                <a:gd name="connsiteY12" fmla="*/ 4237697 h 4437004"/>
                <a:gd name="connsiteX13" fmla="*/ 1470299 w 1551805"/>
                <a:gd name="connsiteY13" fmla="*/ 3471664 h 4437004"/>
                <a:gd name="connsiteX14" fmla="*/ 822705 w 1551805"/>
                <a:gd name="connsiteY14" fmla="*/ 2824707 h 4437004"/>
                <a:gd name="connsiteX15" fmla="*/ 822705 w 1551805"/>
                <a:gd name="connsiteY15" fmla="*/ 1325116 h 4437004"/>
                <a:gd name="connsiteX16" fmla="*/ 1342945 w 1551805"/>
                <a:gd name="connsiteY16" fmla="*/ 804876 h 4437004"/>
                <a:gd name="connsiteX17" fmla="*/ 1342945 w 1551805"/>
                <a:gd name="connsiteY17" fmla="*/ 304376 h 4437004"/>
                <a:gd name="connsiteX18" fmla="*/ 1195852 w 1551805"/>
                <a:gd name="connsiteY18" fmla="*/ 157282 h 4437004"/>
                <a:gd name="connsiteX19" fmla="*/ 965978 w 1551805"/>
                <a:gd name="connsiteY19" fmla="*/ 157282 h 4437004"/>
                <a:gd name="connsiteX20" fmla="*/ 790230 w 1551805"/>
                <a:gd name="connsiteY20" fmla="*/ 0 h 4437004"/>
                <a:gd name="connsiteX21" fmla="*/ 614482 w 1551805"/>
                <a:gd name="connsiteY21" fmla="*/ 157282 h 4437004"/>
                <a:gd name="connsiteX22" fmla="*/ 0 w 1551805"/>
                <a:gd name="connsiteY22" fmla="*/ 157282 h 4437004"/>
                <a:gd name="connsiteX23" fmla="*/ 0 w 1551805"/>
                <a:gd name="connsiteY23" fmla="*/ 195488 h 4437004"/>
                <a:gd name="connsiteX24" fmla="*/ 615755 w 1551805"/>
                <a:gd name="connsiteY24" fmla="*/ 195488 h 4437004"/>
                <a:gd name="connsiteX25" fmla="*/ 791504 w 1551805"/>
                <a:gd name="connsiteY25" fmla="*/ 353407 h 4437004"/>
                <a:gd name="connsiteX26" fmla="*/ 791504 w 1551805"/>
                <a:gd name="connsiteY26" fmla="*/ 38206 h 4437004"/>
                <a:gd name="connsiteX27" fmla="*/ 928409 w 1551805"/>
                <a:gd name="connsiteY27" fmla="*/ 157282 h 4437004"/>
                <a:gd name="connsiteX28" fmla="*/ 929682 w 1551805"/>
                <a:gd name="connsiteY28" fmla="*/ 176385 h 4437004"/>
                <a:gd name="connsiteX29" fmla="*/ 928409 w 1551805"/>
                <a:gd name="connsiteY29" fmla="*/ 195488 h 4437004"/>
                <a:gd name="connsiteX30" fmla="*/ 791504 w 1551805"/>
                <a:gd name="connsiteY30" fmla="*/ 314564 h 4437004"/>
                <a:gd name="connsiteX31" fmla="*/ 654598 w 1551805"/>
                <a:gd name="connsiteY31" fmla="*/ 195488 h 4437004"/>
                <a:gd name="connsiteX32" fmla="*/ 653325 w 1551805"/>
                <a:gd name="connsiteY32" fmla="*/ 176385 h 4437004"/>
                <a:gd name="connsiteX33" fmla="*/ 654598 w 1551805"/>
                <a:gd name="connsiteY33" fmla="*/ 157282 h 4437004"/>
                <a:gd name="connsiteX34" fmla="*/ 791504 w 1551805"/>
                <a:gd name="connsiteY34" fmla="*/ 38206 h 443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1805" h="4437004">
                  <a:moveTo>
                    <a:pt x="791504" y="353407"/>
                  </a:moveTo>
                  <a:cubicBezTo>
                    <a:pt x="882562" y="353407"/>
                    <a:pt x="957700" y="284636"/>
                    <a:pt x="967252" y="196125"/>
                  </a:cubicBezTo>
                  <a:lnTo>
                    <a:pt x="1181206" y="196125"/>
                  </a:lnTo>
                  <a:lnTo>
                    <a:pt x="1305376" y="320295"/>
                  </a:lnTo>
                  <a:lnTo>
                    <a:pt x="1305376" y="788957"/>
                  </a:lnTo>
                  <a:lnTo>
                    <a:pt x="785136" y="1309197"/>
                  </a:lnTo>
                  <a:lnTo>
                    <a:pt x="785136" y="2840626"/>
                  </a:lnTo>
                  <a:lnTo>
                    <a:pt x="1432093" y="3487583"/>
                  </a:lnTo>
                  <a:lnTo>
                    <a:pt x="1432093" y="4237697"/>
                  </a:lnTo>
                  <a:cubicBezTo>
                    <a:pt x="1385609" y="4246611"/>
                    <a:pt x="1350587" y="4287364"/>
                    <a:pt x="1350587" y="4336396"/>
                  </a:cubicBezTo>
                  <a:cubicBezTo>
                    <a:pt x="1350587" y="4391795"/>
                    <a:pt x="1395797" y="4437005"/>
                    <a:pt x="1451196" y="4437005"/>
                  </a:cubicBezTo>
                  <a:cubicBezTo>
                    <a:pt x="1506595" y="4437005"/>
                    <a:pt x="1551806" y="4391795"/>
                    <a:pt x="1551806" y="4336396"/>
                  </a:cubicBezTo>
                  <a:cubicBezTo>
                    <a:pt x="1551806" y="4287364"/>
                    <a:pt x="1516783" y="4246611"/>
                    <a:pt x="1470299" y="4237697"/>
                  </a:cubicBezTo>
                  <a:lnTo>
                    <a:pt x="1470299" y="3471664"/>
                  </a:lnTo>
                  <a:lnTo>
                    <a:pt x="822705" y="2824707"/>
                  </a:lnTo>
                  <a:lnTo>
                    <a:pt x="822705" y="1325116"/>
                  </a:lnTo>
                  <a:lnTo>
                    <a:pt x="1342945" y="804876"/>
                  </a:lnTo>
                  <a:lnTo>
                    <a:pt x="1342945" y="304376"/>
                  </a:lnTo>
                  <a:lnTo>
                    <a:pt x="1195852" y="157282"/>
                  </a:lnTo>
                  <a:lnTo>
                    <a:pt x="965978" y="157282"/>
                  </a:lnTo>
                  <a:cubicBezTo>
                    <a:pt x="956427" y="68771"/>
                    <a:pt x="881288" y="0"/>
                    <a:pt x="790230" y="0"/>
                  </a:cubicBezTo>
                  <a:cubicBezTo>
                    <a:pt x="699172" y="0"/>
                    <a:pt x="624033" y="68771"/>
                    <a:pt x="614482" y="157282"/>
                  </a:cubicBezTo>
                  <a:lnTo>
                    <a:pt x="0" y="157282"/>
                  </a:lnTo>
                  <a:lnTo>
                    <a:pt x="0" y="195488"/>
                  </a:lnTo>
                  <a:lnTo>
                    <a:pt x="615755" y="195488"/>
                  </a:lnTo>
                  <a:cubicBezTo>
                    <a:pt x="625307" y="283999"/>
                    <a:pt x="700446" y="353407"/>
                    <a:pt x="791504" y="353407"/>
                  </a:cubicBezTo>
                  <a:close/>
                  <a:moveTo>
                    <a:pt x="791504" y="38206"/>
                  </a:moveTo>
                  <a:cubicBezTo>
                    <a:pt x="861548" y="38206"/>
                    <a:pt x="918857" y="89784"/>
                    <a:pt x="928409" y="157282"/>
                  </a:cubicBezTo>
                  <a:cubicBezTo>
                    <a:pt x="929046" y="163650"/>
                    <a:pt x="929682" y="170017"/>
                    <a:pt x="929682" y="176385"/>
                  </a:cubicBezTo>
                  <a:cubicBezTo>
                    <a:pt x="929682" y="182753"/>
                    <a:pt x="929046" y="189120"/>
                    <a:pt x="928409" y="195488"/>
                  </a:cubicBezTo>
                  <a:cubicBezTo>
                    <a:pt x="918857" y="262986"/>
                    <a:pt x="861548" y="314564"/>
                    <a:pt x="791504" y="314564"/>
                  </a:cubicBezTo>
                  <a:cubicBezTo>
                    <a:pt x="721459" y="314564"/>
                    <a:pt x="664150" y="262986"/>
                    <a:pt x="654598" y="195488"/>
                  </a:cubicBezTo>
                  <a:cubicBezTo>
                    <a:pt x="653962" y="189120"/>
                    <a:pt x="653325" y="182753"/>
                    <a:pt x="653325" y="176385"/>
                  </a:cubicBezTo>
                  <a:cubicBezTo>
                    <a:pt x="653325" y="170017"/>
                    <a:pt x="653962" y="163650"/>
                    <a:pt x="654598" y="157282"/>
                  </a:cubicBezTo>
                  <a:cubicBezTo>
                    <a:pt x="663513" y="90421"/>
                    <a:pt x="721459" y="38206"/>
                    <a:pt x="791504" y="3820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F423DF2-A546-AACF-CDAD-A88768EE9436}"/>
                </a:ext>
              </a:extLst>
            </p:cNvPr>
            <p:cNvSpPr/>
            <p:nvPr/>
          </p:nvSpPr>
          <p:spPr>
            <a:xfrm>
              <a:off x="3926528" y="1314290"/>
              <a:ext cx="4097607" cy="744382"/>
            </a:xfrm>
            <a:custGeom>
              <a:avLst/>
              <a:gdLst>
                <a:gd name="connsiteX0" fmla="*/ 3996998 w 4097607"/>
                <a:gd name="connsiteY0" fmla="*/ 269353 h 744382"/>
                <a:gd name="connsiteX1" fmla="*/ 3897662 w 4097607"/>
                <a:gd name="connsiteY1" fmla="*/ 355317 h 744382"/>
                <a:gd name="connsiteX2" fmla="*/ 2601201 w 4097607"/>
                <a:gd name="connsiteY2" fmla="*/ 355317 h 744382"/>
                <a:gd name="connsiteX3" fmla="*/ 2250978 w 4097607"/>
                <a:gd name="connsiteY3" fmla="*/ 705540 h 744382"/>
                <a:gd name="connsiteX4" fmla="*/ 732921 w 4097607"/>
                <a:gd name="connsiteY4" fmla="*/ 705540 h 744382"/>
                <a:gd name="connsiteX5" fmla="*/ 184026 w 4097607"/>
                <a:gd name="connsiteY5" fmla="*/ 156645 h 744382"/>
                <a:gd name="connsiteX6" fmla="*/ 201219 w 4097607"/>
                <a:gd name="connsiteY6" fmla="*/ 100609 h 744382"/>
                <a:gd name="connsiteX7" fmla="*/ 100610 w 4097607"/>
                <a:gd name="connsiteY7" fmla="*/ 0 h 744382"/>
                <a:gd name="connsiteX8" fmla="*/ 0 w 4097607"/>
                <a:gd name="connsiteY8" fmla="*/ 100609 h 744382"/>
                <a:gd name="connsiteX9" fmla="*/ 100610 w 4097607"/>
                <a:gd name="connsiteY9" fmla="*/ 201219 h 744382"/>
                <a:gd name="connsiteX10" fmla="*/ 156645 w 4097607"/>
                <a:gd name="connsiteY10" fmla="*/ 184026 h 744382"/>
                <a:gd name="connsiteX11" fmla="*/ 717002 w 4097607"/>
                <a:gd name="connsiteY11" fmla="*/ 744383 h 744382"/>
                <a:gd name="connsiteX12" fmla="*/ 2266897 w 4097607"/>
                <a:gd name="connsiteY12" fmla="*/ 744383 h 744382"/>
                <a:gd name="connsiteX13" fmla="*/ 2617120 w 4097607"/>
                <a:gd name="connsiteY13" fmla="*/ 394160 h 744382"/>
                <a:gd name="connsiteX14" fmla="*/ 3899572 w 4097607"/>
                <a:gd name="connsiteY14" fmla="*/ 394160 h 744382"/>
                <a:gd name="connsiteX15" fmla="*/ 3996998 w 4097607"/>
                <a:gd name="connsiteY15" fmla="*/ 471209 h 744382"/>
                <a:gd name="connsiteX16" fmla="*/ 4097608 w 4097607"/>
                <a:gd name="connsiteY16" fmla="*/ 370600 h 744382"/>
                <a:gd name="connsiteX17" fmla="*/ 3996998 w 4097607"/>
                <a:gd name="connsiteY17" fmla="*/ 269353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7607" h="744382">
                  <a:moveTo>
                    <a:pt x="3996998" y="269353"/>
                  </a:moveTo>
                  <a:cubicBezTo>
                    <a:pt x="3946693" y="269353"/>
                    <a:pt x="3904667" y="306923"/>
                    <a:pt x="3897662" y="355317"/>
                  </a:cubicBezTo>
                  <a:lnTo>
                    <a:pt x="2601201" y="355317"/>
                  </a:lnTo>
                  <a:lnTo>
                    <a:pt x="2250978" y="705540"/>
                  </a:lnTo>
                  <a:lnTo>
                    <a:pt x="732921" y="70554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717002" y="744383"/>
                  </a:lnTo>
                  <a:lnTo>
                    <a:pt x="2266897" y="744383"/>
                  </a:lnTo>
                  <a:lnTo>
                    <a:pt x="2617120" y="394160"/>
                  </a:lnTo>
                  <a:lnTo>
                    <a:pt x="3899572" y="394160"/>
                  </a:lnTo>
                  <a:cubicBezTo>
                    <a:pt x="3910398" y="438097"/>
                    <a:pt x="3949877" y="471209"/>
                    <a:pt x="3996998" y="471209"/>
                  </a:cubicBezTo>
                  <a:cubicBezTo>
                    <a:pt x="4052397" y="471209"/>
                    <a:pt x="4097608" y="425998"/>
                    <a:pt x="4097608" y="370600"/>
                  </a:cubicBezTo>
                  <a:cubicBezTo>
                    <a:pt x="4097608" y="315201"/>
                    <a:pt x="4052397" y="269353"/>
                    <a:pt x="3996998" y="26935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87D0726-CE4C-6A0B-0D43-9E1379CB450B}"/>
                </a:ext>
              </a:extLst>
            </p:cNvPr>
            <p:cNvSpPr/>
            <p:nvPr/>
          </p:nvSpPr>
          <p:spPr>
            <a:xfrm>
              <a:off x="4653718" y="1316201"/>
              <a:ext cx="4336395" cy="636768"/>
            </a:xfrm>
            <a:custGeom>
              <a:avLst/>
              <a:gdLst>
                <a:gd name="connsiteX0" fmla="*/ 4235786 w 4336395"/>
                <a:gd name="connsiteY0" fmla="*/ 0 h 636768"/>
                <a:gd name="connsiteX1" fmla="*/ 4137087 w 4336395"/>
                <a:gd name="connsiteY1" fmla="*/ 81506 h 636768"/>
                <a:gd name="connsiteX2" fmla="*/ 1780405 w 4336395"/>
                <a:gd name="connsiteY2" fmla="*/ 81506 h 636768"/>
                <a:gd name="connsiteX3" fmla="*/ 1344856 w 4336395"/>
                <a:gd name="connsiteY3" fmla="*/ 517056 h 636768"/>
                <a:gd name="connsiteX4" fmla="*/ 199309 w 4336395"/>
                <a:gd name="connsiteY4" fmla="*/ 517056 h 636768"/>
                <a:gd name="connsiteX5" fmla="*/ 100609 w 4336395"/>
                <a:gd name="connsiteY5" fmla="*/ 435550 h 636768"/>
                <a:gd name="connsiteX6" fmla="*/ 0 w 4336395"/>
                <a:gd name="connsiteY6" fmla="*/ 536159 h 636768"/>
                <a:gd name="connsiteX7" fmla="*/ 100609 w 4336395"/>
                <a:gd name="connsiteY7" fmla="*/ 636769 h 636768"/>
                <a:gd name="connsiteX8" fmla="*/ 199309 w 4336395"/>
                <a:gd name="connsiteY8" fmla="*/ 555262 h 636768"/>
                <a:gd name="connsiteX9" fmla="*/ 1360775 w 4336395"/>
                <a:gd name="connsiteY9" fmla="*/ 555262 h 636768"/>
                <a:gd name="connsiteX10" fmla="*/ 1796325 w 4336395"/>
                <a:gd name="connsiteY10" fmla="*/ 119713 h 636768"/>
                <a:gd name="connsiteX11" fmla="*/ 4137087 w 4336395"/>
                <a:gd name="connsiteY11" fmla="*/ 119713 h 636768"/>
                <a:gd name="connsiteX12" fmla="*/ 4235786 w 4336395"/>
                <a:gd name="connsiteY12" fmla="*/ 201219 h 636768"/>
                <a:gd name="connsiteX13" fmla="*/ 4336396 w 4336395"/>
                <a:gd name="connsiteY13" fmla="*/ 100609 h 636768"/>
                <a:gd name="connsiteX14" fmla="*/ 4235786 w 4336395"/>
                <a:gd name="connsiteY14" fmla="*/ 0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4235786" y="0"/>
                  </a:moveTo>
                  <a:cubicBezTo>
                    <a:pt x="4186755" y="0"/>
                    <a:pt x="4146002" y="35022"/>
                    <a:pt x="4137087" y="81506"/>
                  </a:cubicBezTo>
                  <a:lnTo>
                    <a:pt x="1780405" y="81506"/>
                  </a:lnTo>
                  <a:lnTo>
                    <a:pt x="1344856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09" y="435550"/>
                  </a:cubicBezTo>
                  <a:cubicBezTo>
                    <a:pt x="45210" y="435550"/>
                    <a:pt x="0" y="480761"/>
                    <a:pt x="0" y="536159"/>
                  </a:cubicBezTo>
                  <a:cubicBezTo>
                    <a:pt x="0" y="591558"/>
                    <a:pt x="45210" y="636769"/>
                    <a:pt x="100609" y="636769"/>
                  </a:cubicBezTo>
                  <a:cubicBezTo>
                    <a:pt x="149641" y="636769"/>
                    <a:pt x="190394" y="601747"/>
                    <a:pt x="199309" y="555262"/>
                  </a:cubicBezTo>
                  <a:lnTo>
                    <a:pt x="1360775" y="555262"/>
                  </a:lnTo>
                  <a:lnTo>
                    <a:pt x="1796325" y="119713"/>
                  </a:lnTo>
                  <a:lnTo>
                    <a:pt x="4137087" y="119713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4574"/>
                    <a:pt x="4291185" y="0"/>
                    <a:pt x="423578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B284CD6-96D4-82C3-8B1A-06A275CA2935}"/>
                </a:ext>
              </a:extLst>
            </p:cNvPr>
            <p:cNvSpPr/>
            <p:nvPr/>
          </p:nvSpPr>
          <p:spPr>
            <a:xfrm>
              <a:off x="3515812" y="42663"/>
              <a:ext cx="5899025" cy="1436550"/>
            </a:xfrm>
            <a:custGeom>
              <a:avLst/>
              <a:gdLst>
                <a:gd name="connsiteX0" fmla="*/ 5798417 w 5899025"/>
                <a:gd name="connsiteY0" fmla="*/ 988902 h 1436550"/>
                <a:gd name="connsiteX1" fmla="*/ 5699718 w 5899025"/>
                <a:gd name="connsiteY1" fmla="*/ 1069135 h 1436550"/>
                <a:gd name="connsiteX2" fmla="*/ 4800600 w 5899025"/>
                <a:gd name="connsiteY2" fmla="*/ 1069135 h 1436550"/>
                <a:gd name="connsiteX3" fmla="*/ 4624852 w 5899025"/>
                <a:gd name="connsiteY3" fmla="*/ 911853 h 1436550"/>
                <a:gd name="connsiteX4" fmla="*/ 4449104 w 5899025"/>
                <a:gd name="connsiteY4" fmla="*/ 1069135 h 1436550"/>
                <a:gd name="connsiteX5" fmla="*/ 2766124 w 5899025"/>
                <a:gd name="connsiteY5" fmla="*/ 1069135 h 1436550"/>
                <a:gd name="connsiteX6" fmla="*/ 2436914 w 5899025"/>
                <a:gd name="connsiteY6" fmla="*/ 1398344 h 1436550"/>
                <a:gd name="connsiteX7" fmla="*/ 1176112 w 5899025"/>
                <a:gd name="connsiteY7" fmla="*/ 1398344 h 1436550"/>
                <a:gd name="connsiteX8" fmla="*/ 669244 w 5899025"/>
                <a:gd name="connsiteY8" fmla="*/ 891476 h 1436550"/>
                <a:gd name="connsiteX9" fmla="*/ 669244 w 5899025"/>
                <a:gd name="connsiteY9" fmla="*/ 643137 h 1436550"/>
                <a:gd name="connsiteX10" fmla="*/ 27381 w 5899025"/>
                <a:gd name="connsiteY10" fmla="*/ 0 h 1436550"/>
                <a:gd name="connsiteX11" fmla="*/ 0 w 5899025"/>
                <a:gd name="connsiteY11" fmla="*/ 27381 h 1436550"/>
                <a:gd name="connsiteX12" fmla="*/ 631038 w 5899025"/>
                <a:gd name="connsiteY12" fmla="*/ 658419 h 1436550"/>
                <a:gd name="connsiteX13" fmla="*/ 631038 w 5899025"/>
                <a:gd name="connsiteY13" fmla="*/ 906759 h 1436550"/>
                <a:gd name="connsiteX14" fmla="*/ 1160830 w 5899025"/>
                <a:gd name="connsiteY14" fmla="*/ 1436551 h 1436550"/>
                <a:gd name="connsiteX15" fmla="*/ 2452834 w 5899025"/>
                <a:gd name="connsiteY15" fmla="*/ 1436551 h 1436550"/>
                <a:gd name="connsiteX16" fmla="*/ 2782043 w 5899025"/>
                <a:gd name="connsiteY16" fmla="*/ 1107341 h 1436550"/>
                <a:gd name="connsiteX17" fmla="*/ 4449104 w 5899025"/>
                <a:gd name="connsiteY17" fmla="*/ 1107341 h 1436550"/>
                <a:gd name="connsiteX18" fmla="*/ 4624852 w 5899025"/>
                <a:gd name="connsiteY18" fmla="*/ 1264623 h 1436550"/>
                <a:gd name="connsiteX19" fmla="*/ 4800600 w 5899025"/>
                <a:gd name="connsiteY19" fmla="*/ 1107341 h 1436550"/>
                <a:gd name="connsiteX20" fmla="*/ 5699718 w 5899025"/>
                <a:gd name="connsiteY20" fmla="*/ 1107341 h 1436550"/>
                <a:gd name="connsiteX21" fmla="*/ 5798417 w 5899025"/>
                <a:gd name="connsiteY21" fmla="*/ 1189484 h 1436550"/>
                <a:gd name="connsiteX22" fmla="*/ 5899026 w 5899025"/>
                <a:gd name="connsiteY22" fmla="*/ 1088875 h 1436550"/>
                <a:gd name="connsiteX23" fmla="*/ 5798417 w 5899025"/>
                <a:gd name="connsiteY23" fmla="*/ 988902 h 1436550"/>
                <a:gd name="connsiteX24" fmla="*/ 4624852 w 5899025"/>
                <a:gd name="connsiteY24" fmla="*/ 1226417 h 1436550"/>
                <a:gd name="connsiteX25" fmla="*/ 4487947 w 5899025"/>
                <a:gd name="connsiteY25" fmla="*/ 1107341 h 1436550"/>
                <a:gd name="connsiteX26" fmla="*/ 4486673 w 5899025"/>
                <a:gd name="connsiteY26" fmla="*/ 1088238 h 1436550"/>
                <a:gd name="connsiteX27" fmla="*/ 4487947 w 5899025"/>
                <a:gd name="connsiteY27" fmla="*/ 1069135 h 1436550"/>
                <a:gd name="connsiteX28" fmla="*/ 4624852 w 5899025"/>
                <a:gd name="connsiteY28" fmla="*/ 950059 h 1436550"/>
                <a:gd name="connsiteX29" fmla="*/ 4761757 w 5899025"/>
                <a:gd name="connsiteY29" fmla="*/ 1069135 h 1436550"/>
                <a:gd name="connsiteX30" fmla="*/ 4763031 w 5899025"/>
                <a:gd name="connsiteY30" fmla="*/ 1088238 h 1436550"/>
                <a:gd name="connsiteX31" fmla="*/ 4761757 w 5899025"/>
                <a:gd name="connsiteY31" fmla="*/ 1107341 h 1436550"/>
                <a:gd name="connsiteX32" fmla="*/ 4624852 w 5899025"/>
                <a:gd name="connsiteY32" fmla="*/ 1226417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025" h="1436550">
                  <a:moveTo>
                    <a:pt x="5798417" y="988902"/>
                  </a:moveTo>
                  <a:cubicBezTo>
                    <a:pt x="5750023" y="988902"/>
                    <a:pt x="5709270" y="1023287"/>
                    <a:pt x="5699718" y="1069135"/>
                  </a:cubicBezTo>
                  <a:lnTo>
                    <a:pt x="4800600" y="1069135"/>
                  </a:lnTo>
                  <a:cubicBezTo>
                    <a:pt x="4791049" y="980624"/>
                    <a:pt x="4715910" y="911853"/>
                    <a:pt x="4624852" y="911853"/>
                  </a:cubicBezTo>
                  <a:cubicBezTo>
                    <a:pt x="4533795" y="911853"/>
                    <a:pt x="4458656" y="980624"/>
                    <a:pt x="4449104" y="1069135"/>
                  </a:cubicBezTo>
                  <a:lnTo>
                    <a:pt x="2766124" y="1069135"/>
                  </a:lnTo>
                  <a:lnTo>
                    <a:pt x="2436914" y="1398344"/>
                  </a:lnTo>
                  <a:lnTo>
                    <a:pt x="1176112" y="1398344"/>
                  </a:lnTo>
                  <a:lnTo>
                    <a:pt x="669244" y="891476"/>
                  </a:lnTo>
                  <a:lnTo>
                    <a:pt x="669244" y="643137"/>
                  </a:lnTo>
                  <a:lnTo>
                    <a:pt x="27381" y="0"/>
                  </a:lnTo>
                  <a:lnTo>
                    <a:pt x="0" y="27381"/>
                  </a:lnTo>
                  <a:lnTo>
                    <a:pt x="631038" y="658419"/>
                  </a:lnTo>
                  <a:lnTo>
                    <a:pt x="631038" y="906759"/>
                  </a:lnTo>
                  <a:lnTo>
                    <a:pt x="1160830" y="1436551"/>
                  </a:lnTo>
                  <a:lnTo>
                    <a:pt x="2452834" y="1436551"/>
                  </a:lnTo>
                  <a:lnTo>
                    <a:pt x="2782043" y="1107341"/>
                  </a:lnTo>
                  <a:lnTo>
                    <a:pt x="4449104" y="1107341"/>
                  </a:lnTo>
                  <a:cubicBezTo>
                    <a:pt x="4458656" y="1195852"/>
                    <a:pt x="4533795" y="1264623"/>
                    <a:pt x="4624852" y="1264623"/>
                  </a:cubicBezTo>
                  <a:cubicBezTo>
                    <a:pt x="4715910" y="1264623"/>
                    <a:pt x="4791049" y="1195852"/>
                    <a:pt x="4800600" y="1107341"/>
                  </a:cubicBezTo>
                  <a:lnTo>
                    <a:pt x="5699718" y="1107341"/>
                  </a:lnTo>
                  <a:cubicBezTo>
                    <a:pt x="5707996" y="1154462"/>
                    <a:pt x="5749386" y="1189484"/>
                    <a:pt x="5798417" y="1189484"/>
                  </a:cubicBezTo>
                  <a:cubicBezTo>
                    <a:pt x="5853816" y="1189484"/>
                    <a:pt x="5899026" y="1144274"/>
                    <a:pt x="5899026" y="1088875"/>
                  </a:cubicBezTo>
                  <a:cubicBezTo>
                    <a:pt x="5899026" y="1033476"/>
                    <a:pt x="5853816" y="988902"/>
                    <a:pt x="5798417" y="988902"/>
                  </a:cubicBezTo>
                  <a:close/>
                  <a:moveTo>
                    <a:pt x="4624852" y="1226417"/>
                  </a:moveTo>
                  <a:cubicBezTo>
                    <a:pt x="4554807" y="1226417"/>
                    <a:pt x="4496862" y="1174202"/>
                    <a:pt x="4487947" y="1107341"/>
                  </a:cubicBezTo>
                  <a:cubicBezTo>
                    <a:pt x="4487310" y="1100973"/>
                    <a:pt x="4486673" y="1094606"/>
                    <a:pt x="4486673" y="1088238"/>
                  </a:cubicBezTo>
                  <a:cubicBezTo>
                    <a:pt x="4486673" y="1081870"/>
                    <a:pt x="4487310" y="1075503"/>
                    <a:pt x="4487947" y="1069135"/>
                  </a:cubicBezTo>
                  <a:cubicBezTo>
                    <a:pt x="4497498" y="1002274"/>
                    <a:pt x="4555444" y="950059"/>
                    <a:pt x="4624852" y="950059"/>
                  </a:cubicBezTo>
                  <a:cubicBezTo>
                    <a:pt x="4694260" y="950059"/>
                    <a:pt x="4752206" y="1001637"/>
                    <a:pt x="4761757" y="1069135"/>
                  </a:cubicBezTo>
                  <a:cubicBezTo>
                    <a:pt x="4762394" y="1075503"/>
                    <a:pt x="4763031" y="1081870"/>
                    <a:pt x="4763031" y="1088238"/>
                  </a:cubicBezTo>
                  <a:cubicBezTo>
                    <a:pt x="4763031" y="1094606"/>
                    <a:pt x="4762394" y="1100973"/>
                    <a:pt x="4761757" y="1107341"/>
                  </a:cubicBezTo>
                  <a:cubicBezTo>
                    <a:pt x="4752842" y="1174838"/>
                    <a:pt x="4694897" y="1226417"/>
                    <a:pt x="4624852" y="122641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2422471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47B569B-73E1-58A8-A78B-5F9114060FF4}"/>
              </a:ext>
            </a:extLst>
          </p:cNvPr>
          <p:cNvSpPr txBox="1"/>
          <p:nvPr userDrawn="1"/>
        </p:nvSpPr>
        <p:spPr>
          <a:xfrm>
            <a:off x="11099800" y="6281665"/>
            <a:ext cx="716833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algn="r" defTabSz="914400" rtl="0" eaLnBrk="1" latinLnBrk="0" hangingPunct="1"/>
            <a:fld id="{4449449E-5AE0-413A-898C-4571D01E0173}" type="slidenum">
              <a:rPr lang="en-US" sz="1000" kern="1200" smtClean="0">
                <a:solidFill>
                  <a:schemeClr val="bg1"/>
                </a:solidFill>
                <a:latin typeface="Roboto" panose="02000000000000000000" pitchFamily="2" charset="0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chemeClr val="bg1"/>
              </a:solidFill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9075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EF3FFDF-72E4-C407-0901-2902CB8202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09825" y="1139392"/>
            <a:ext cx="2247708" cy="3641558"/>
          </a:xfrm>
          <a:custGeom>
            <a:avLst/>
            <a:gdLst>
              <a:gd name="connsiteX0" fmla="*/ 0 w 2247708"/>
              <a:gd name="connsiteY0" fmla="*/ 0 h 3641558"/>
              <a:gd name="connsiteX1" fmla="*/ 1873083 w 2247708"/>
              <a:gd name="connsiteY1" fmla="*/ 0 h 3641558"/>
              <a:gd name="connsiteX2" fmla="*/ 2247708 w 2247708"/>
              <a:gd name="connsiteY2" fmla="*/ 374625 h 3641558"/>
              <a:gd name="connsiteX3" fmla="*/ 2247708 w 2247708"/>
              <a:gd name="connsiteY3" fmla="*/ 3641558 h 3641558"/>
              <a:gd name="connsiteX4" fmla="*/ 374625 w 2247708"/>
              <a:gd name="connsiteY4" fmla="*/ 3641558 h 3641558"/>
              <a:gd name="connsiteX5" fmla="*/ 0 w 2247708"/>
              <a:gd name="connsiteY5" fmla="*/ 3266933 h 3641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47708" h="3641558">
                <a:moveTo>
                  <a:pt x="0" y="0"/>
                </a:moveTo>
                <a:lnTo>
                  <a:pt x="1873083" y="0"/>
                </a:lnTo>
                <a:lnTo>
                  <a:pt x="2247708" y="374625"/>
                </a:lnTo>
                <a:lnTo>
                  <a:pt x="2247708" y="3641558"/>
                </a:lnTo>
                <a:lnTo>
                  <a:pt x="374625" y="3641558"/>
                </a:lnTo>
                <a:lnTo>
                  <a:pt x="0" y="326693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351F25-58BD-D41A-D513-C3073BC7EF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41974" y="1139392"/>
            <a:ext cx="2247708" cy="3641558"/>
          </a:xfrm>
          <a:custGeom>
            <a:avLst/>
            <a:gdLst>
              <a:gd name="connsiteX0" fmla="*/ 0 w 2247708"/>
              <a:gd name="connsiteY0" fmla="*/ 0 h 3641558"/>
              <a:gd name="connsiteX1" fmla="*/ 1873083 w 2247708"/>
              <a:gd name="connsiteY1" fmla="*/ 0 h 3641558"/>
              <a:gd name="connsiteX2" fmla="*/ 2247708 w 2247708"/>
              <a:gd name="connsiteY2" fmla="*/ 374625 h 3641558"/>
              <a:gd name="connsiteX3" fmla="*/ 2247708 w 2247708"/>
              <a:gd name="connsiteY3" fmla="*/ 3641558 h 3641558"/>
              <a:gd name="connsiteX4" fmla="*/ 374625 w 2247708"/>
              <a:gd name="connsiteY4" fmla="*/ 3641558 h 3641558"/>
              <a:gd name="connsiteX5" fmla="*/ 0 w 2247708"/>
              <a:gd name="connsiteY5" fmla="*/ 3266933 h 3641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47708" h="3641558">
                <a:moveTo>
                  <a:pt x="0" y="0"/>
                </a:moveTo>
                <a:lnTo>
                  <a:pt x="1873083" y="0"/>
                </a:lnTo>
                <a:lnTo>
                  <a:pt x="2247708" y="374625"/>
                </a:lnTo>
                <a:lnTo>
                  <a:pt x="2247708" y="3641558"/>
                </a:lnTo>
                <a:lnTo>
                  <a:pt x="374625" y="3641558"/>
                </a:lnTo>
                <a:lnTo>
                  <a:pt x="0" y="326693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A76F3E0-C2CD-F776-062A-AE63DD4DD8E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74124" y="1139392"/>
            <a:ext cx="2247708" cy="3641558"/>
          </a:xfrm>
          <a:custGeom>
            <a:avLst/>
            <a:gdLst>
              <a:gd name="connsiteX0" fmla="*/ 0 w 2247708"/>
              <a:gd name="connsiteY0" fmla="*/ 0 h 3641558"/>
              <a:gd name="connsiteX1" fmla="*/ 1873083 w 2247708"/>
              <a:gd name="connsiteY1" fmla="*/ 0 h 3641558"/>
              <a:gd name="connsiteX2" fmla="*/ 2247708 w 2247708"/>
              <a:gd name="connsiteY2" fmla="*/ 374625 h 3641558"/>
              <a:gd name="connsiteX3" fmla="*/ 2247708 w 2247708"/>
              <a:gd name="connsiteY3" fmla="*/ 3641558 h 3641558"/>
              <a:gd name="connsiteX4" fmla="*/ 374625 w 2247708"/>
              <a:gd name="connsiteY4" fmla="*/ 3641558 h 3641558"/>
              <a:gd name="connsiteX5" fmla="*/ 0 w 2247708"/>
              <a:gd name="connsiteY5" fmla="*/ 3266933 h 3641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47708" h="3641558">
                <a:moveTo>
                  <a:pt x="0" y="0"/>
                </a:moveTo>
                <a:lnTo>
                  <a:pt x="1873083" y="0"/>
                </a:lnTo>
                <a:lnTo>
                  <a:pt x="2247708" y="374625"/>
                </a:lnTo>
                <a:lnTo>
                  <a:pt x="2247708" y="3641558"/>
                </a:lnTo>
                <a:lnTo>
                  <a:pt x="374625" y="3641558"/>
                </a:lnTo>
                <a:lnTo>
                  <a:pt x="0" y="326693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33966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A465F8D-12B2-E080-14E1-D992FCA1291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8438" y="4857750"/>
            <a:ext cx="1308100" cy="1308100"/>
          </a:xfrm>
          <a:custGeom>
            <a:avLst/>
            <a:gdLst>
              <a:gd name="connsiteX0" fmla="*/ 0 w 1308100"/>
              <a:gd name="connsiteY0" fmla="*/ 0 h 1308100"/>
              <a:gd name="connsiteX1" fmla="*/ 1308100 w 1308100"/>
              <a:gd name="connsiteY1" fmla="*/ 0 h 1308100"/>
              <a:gd name="connsiteX2" fmla="*/ 1308100 w 1308100"/>
              <a:gd name="connsiteY2" fmla="*/ 1308100 h 1308100"/>
              <a:gd name="connsiteX3" fmla="*/ 0 w 1308100"/>
              <a:gd name="connsiteY3" fmla="*/ 1308100 h 130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8100" h="1308100">
                <a:moveTo>
                  <a:pt x="0" y="0"/>
                </a:moveTo>
                <a:lnTo>
                  <a:pt x="1308100" y="0"/>
                </a:lnTo>
                <a:lnTo>
                  <a:pt x="1308100" y="1308100"/>
                </a:lnTo>
                <a:lnTo>
                  <a:pt x="0" y="13081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A39FF61-0B0E-F2B2-1824-206C32D717E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45463" y="4857750"/>
            <a:ext cx="1308100" cy="1308100"/>
          </a:xfrm>
          <a:custGeom>
            <a:avLst/>
            <a:gdLst>
              <a:gd name="connsiteX0" fmla="*/ 0 w 1308100"/>
              <a:gd name="connsiteY0" fmla="*/ 0 h 1308100"/>
              <a:gd name="connsiteX1" fmla="*/ 1308100 w 1308100"/>
              <a:gd name="connsiteY1" fmla="*/ 0 h 1308100"/>
              <a:gd name="connsiteX2" fmla="*/ 1308100 w 1308100"/>
              <a:gd name="connsiteY2" fmla="*/ 1308100 h 1308100"/>
              <a:gd name="connsiteX3" fmla="*/ 0 w 1308100"/>
              <a:gd name="connsiteY3" fmla="*/ 1308100 h 130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8100" h="1308100">
                <a:moveTo>
                  <a:pt x="0" y="0"/>
                </a:moveTo>
                <a:lnTo>
                  <a:pt x="1308100" y="0"/>
                </a:lnTo>
                <a:lnTo>
                  <a:pt x="1308100" y="1308100"/>
                </a:lnTo>
                <a:lnTo>
                  <a:pt x="0" y="13081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90379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4DA5121-EE1B-AC04-7E90-70A59505E37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811225"/>
            <a:ext cx="4579340" cy="4524354"/>
          </a:xfrm>
          <a:custGeom>
            <a:avLst/>
            <a:gdLst>
              <a:gd name="connsiteX0" fmla="*/ 1606216 w 4579340"/>
              <a:gd name="connsiteY0" fmla="*/ 3408924 h 4524354"/>
              <a:gd name="connsiteX1" fmla="*/ 1573767 w 4579340"/>
              <a:gd name="connsiteY1" fmla="*/ 3445431 h 4524354"/>
              <a:gd name="connsiteX2" fmla="*/ 1573767 w 4579340"/>
              <a:gd name="connsiteY2" fmla="*/ 3696909 h 4524354"/>
              <a:gd name="connsiteX3" fmla="*/ 1614328 w 4579340"/>
              <a:gd name="connsiteY3" fmla="*/ 3737470 h 4524354"/>
              <a:gd name="connsiteX4" fmla="*/ 2295753 w 4579340"/>
              <a:gd name="connsiteY4" fmla="*/ 3737470 h 4524354"/>
              <a:gd name="connsiteX5" fmla="*/ 2981236 w 4579340"/>
              <a:gd name="connsiteY5" fmla="*/ 3737470 h 4524354"/>
              <a:gd name="connsiteX6" fmla="*/ 3021798 w 4579340"/>
              <a:gd name="connsiteY6" fmla="*/ 3700963 h 4524354"/>
              <a:gd name="connsiteX7" fmla="*/ 3021798 w 4579340"/>
              <a:gd name="connsiteY7" fmla="*/ 3445431 h 4524354"/>
              <a:gd name="connsiteX8" fmla="*/ 2985290 w 4579340"/>
              <a:gd name="connsiteY8" fmla="*/ 3408924 h 4524354"/>
              <a:gd name="connsiteX9" fmla="*/ 1606216 w 4579340"/>
              <a:gd name="connsiteY9" fmla="*/ 3408924 h 4524354"/>
              <a:gd name="connsiteX10" fmla="*/ 1557543 w 4579340"/>
              <a:gd name="connsiteY10" fmla="*/ 1839217 h 4524354"/>
              <a:gd name="connsiteX11" fmla="*/ 1078923 w 4579340"/>
              <a:gd name="connsiteY11" fmla="*/ 2309724 h 4524354"/>
              <a:gd name="connsiteX12" fmla="*/ 1553489 w 4579340"/>
              <a:gd name="connsiteY12" fmla="*/ 2788344 h 4524354"/>
              <a:gd name="connsiteX13" fmla="*/ 2032109 w 4579340"/>
              <a:gd name="connsiteY13" fmla="*/ 2317836 h 4524354"/>
              <a:gd name="connsiteX14" fmla="*/ 1557543 w 4579340"/>
              <a:gd name="connsiteY14" fmla="*/ 1839217 h 4524354"/>
              <a:gd name="connsiteX15" fmla="*/ 3033964 w 4579340"/>
              <a:gd name="connsiteY15" fmla="*/ 1822992 h 4524354"/>
              <a:gd name="connsiteX16" fmla="*/ 2555344 w 4579340"/>
              <a:gd name="connsiteY16" fmla="*/ 2309724 h 4524354"/>
              <a:gd name="connsiteX17" fmla="*/ 3046134 w 4579340"/>
              <a:gd name="connsiteY17" fmla="*/ 2784285 h 4524354"/>
              <a:gd name="connsiteX18" fmla="*/ 3516642 w 4579340"/>
              <a:gd name="connsiteY18" fmla="*/ 2305666 h 4524354"/>
              <a:gd name="connsiteX19" fmla="*/ 3033964 w 4579340"/>
              <a:gd name="connsiteY19" fmla="*/ 1822992 h 4524354"/>
              <a:gd name="connsiteX20" fmla="*/ 2299811 w 4579340"/>
              <a:gd name="connsiteY20" fmla="*/ 282 h 4524354"/>
              <a:gd name="connsiteX21" fmla="*/ 2425548 w 4579340"/>
              <a:gd name="connsiteY21" fmla="*/ 1802 h 4524354"/>
              <a:gd name="connsiteX22" fmla="*/ 2474222 w 4579340"/>
              <a:gd name="connsiteY22" fmla="*/ 50476 h 4524354"/>
              <a:gd name="connsiteX23" fmla="*/ 2474222 w 4579340"/>
              <a:gd name="connsiteY23" fmla="*/ 107261 h 4524354"/>
              <a:gd name="connsiteX24" fmla="*/ 2474222 w 4579340"/>
              <a:gd name="connsiteY24" fmla="*/ 926593 h 4524354"/>
              <a:gd name="connsiteX25" fmla="*/ 2474222 w 4579340"/>
              <a:gd name="connsiteY25" fmla="*/ 975266 h 4524354"/>
              <a:gd name="connsiteX26" fmla="*/ 2510729 w 4579340"/>
              <a:gd name="connsiteY26" fmla="*/ 1011773 h 4524354"/>
              <a:gd name="connsiteX27" fmla="*/ 2559402 w 4579340"/>
              <a:gd name="connsiteY27" fmla="*/ 1011773 h 4524354"/>
              <a:gd name="connsiteX28" fmla="*/ 3983091 w 4579340"/>
              <a:gd name="connsiteY28" fmla="*/ 1011773 h 4524354"/>
              <a:gd name="connsiteX29" fmla="*/ 4076384 w 4579340"/>
              <a:gd name="connsiteY29" fmla="*/ 1019885 h 4524354"/>
              <a:gd name="connsiteX30" fmla="*/ 4210233 w 4579340"/>
              <a:gd name="connsiteY30" fmla="*/ 1210520 h 4524354"/>
              <a:gd name="connsiteX31" fmla="*/ 4210233 w 4579340"/>
              <a:gd name="connsiteY31" fmla="*/ 1798656 h 4524354"/>
              <a:gd name="connsiteX32" fmla="*/ 4311638 w 4579340"/>
              <a:gd name="connsiteY32" fmla="*/ 1900056 h 4524354"/>
              <a:gd name="connsiteX33" fmla="*/ 4437374 w 4579340"/>
              <a:gd name="connsiteY33" fmla="*/ 1908168 h 4524354"/>
              <a:gd name="connsiteX34" fmla="*/ 4579340 w 4579340"/>
              <a:gd name="connsiteY34" fmla="*/ 2050134 h 4524354"/>
              <a:gd name="connsiteX35" fmla="*/ 4579340 w 4579340"/>
              <a:gd name="connsiteY35" fmla="*/ 3206120 h 4524354"/>
              <a:gd name="connsiteX36" fmla="*/ 4400872 w 4579340"/>
              <a:gd name="connsiteY36" fmla="*/ 3344027 h 4524354"/>
              <a:gd name="connsiteX37" fmla="*/ 4254852 w 4579340"/>
              <a:gd name="connsiteY37" fmla="*/ 3344027 h 4524354"/>
              <a:gd name="connsiteX38" fmla="*/ 4202120 w 4579340"/>
              <a:gd name="connsiteY38" fmla="*/ 3396758 h 4524354"/>
              <a:gd name="connsiteX39" fmla="*/ 4202120 w 4579340"/>
              <a:gd name="connsiteY39" fmla="*/ 3915939 h 4524354"/>
              <a:gd name="connsiteX40" fmla="*/ 4202120 w 4579340"/>
              <a:gd name="connsiteY40" fmla="*/ 4305324 h 4524354"/>
              <a:gd name="connsiteX41" fmla="*/ 4019598 w 4579340"/>
              <a:gd name="connsiteY41" fmla="*/ 4520295 h 4524354"/>
              <a:gd name="connsiteX42" fmla="*/ 3942530 w 4579340"/>
              <a:gd name="connsiteY42" fmla="*/ 4524354 h 4524354"/>
              <a:gd name="connsiteX43" fmla="*/ 640864 w 4579340"/>
              <a:gd name="connsiteY43" fmla="*/ 4524354 h 4524354"/>
              <a:gd name="connsiteX44" fmla="*/ 543518 w 4579340"/>
              <a:gd name="connsiteY44" fmla="*/ 4516241 h 4524354"/>
              <a:gd name="connsiteX45" fmla="*/ 381274 w 4579340"/>
              <a:gd name="connsiteY45" fmla="*/ 4321549 h 4524354"/>
              <a:gd name="connsiteX46" fmla="*/ 381274 w 4579340"/>
              <a:gd name="connsiteY46" fmla="*/ 4025451 h 4524354"/>
              <a:gd name="connsiteX47" fmla="*/ 381274 w 4579340"/>
              <a:gd name="connsiteY47" fmla="*/ 3408924 h 4524354"/>
              <a:gd name="connsiteX48" fmla="*/ 316376 w 4579340"/>
              <a:gd name="connsiteY48" fmla="*/ 3344027 h 4524354"/>
              <a:gd name="connsiteX49" fmla="*/ 170356 w 4579340"/>
              <a:gd name="connsiteY49" fmla="*/ 3344027 h 4524354"/>
              <a:gd name="connsiteX50" fmla="*/ 0 w 4579340"/>
              <a:gd name="connsiteY50" fmla="*/ 3165559 h 4524354"/>
              <a:gd name="connsiteX51" fmla="*/ 0 w 4579340"/>
              <a:gd name="connsiteY51" fmla="*/ 2086637 h 4524354"/>
              <a:gd name="connsiteX52" fmla="*/ 158190 w 4579340"/>
              <a:gd name="connsiteY52" fmla="*/ 1900056 h 4524354"/>
              <a:gd name="connsiteX53" fmla="*/ 324488 w 4579340"/>
              <a:gd name="connsiteY53" fmla="*/ 1891944 h 4524354"/>
              <a:gd name="connsiteX54" fmla="*/ 385332 w 4579340"/>
              <a:gd name="connsiteY54" fmla="*/ 1831105 h 4524354"/>
              <a:gd name="connsiteX55" fmla="*/ 385332 w 4579340"/>
              <a:gd name="connsiteY55" fmla="*/ 1210520 h 4524354"/>
              <a:gd name="connsiteX56" fmla="*/ 531352 w 4579340"/>
              <a:gd name="connsiteY56" fmla="*/ 1015827 h 4524354"/>
              <a:gd name="connsiteX57" fmla="*/ 616528 w 4579340"/>
              <a:gd name="connsiteY57" fmla="*/ 1007715 h 4524354"/>
              <a:gd name="connsiteX58" fmla="*/ 2040221 w 4579340"/>
              <a:gd name="connsiteY58" fmla="*/ 1007715 h 4524354"/>
              <a:gd name="connsiteX59" fmla="*/ 2125397 w 4579340"/>
              <a:gd name="connsiteY59" fmla="*/ 926593 h 4524354"/>
              <a:gd name="connsiteX60" fmla="*/ 2125397 w 4579340"/>
              <a:gd name="connsiteY60" fmla="*/ 103207 h 4524354"/>
              <a:gd name="connsiteX61" fmla="*/ 2125397 w 4579340"/>
              <a:gd name="connsiteY61" fmla="*/ 50476 h 4524354"/>
              <a:gd name="connsiteX62" fmla="*/ 2174070 w 4579340"/>
              <a:gd name="connsiteY62" fmla="*/ 1802 h 4524354"/>
              <a:gd name="connsiteX63" fmla="*/ 2299811 w 4579340"/>
              <a:gd name="connsiteY63" fmla="*/ 282 h 4524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4579340" h="4524354">
                <a:moveTo>
                  <a:pt x="1606216" y="3408924"/>
                </a:moveTo>
                <a:cubicBezTo>
                  <a:pt x="1577826" y="3408924"/>
                  <a:pt x="1573767" y="3421095"/>
                  <a:pt x="1573767" y="3445431"/>
                </a:cubicBezTo>
                <a:cubicBezTo>
                  <a:pt x="1573767" y="3530607"/>
                  <a:pt x="1577826" y="3611729"/>
                  <a:pt x="1573767" y="3696909"/>
                </a:cubicBezTo>
                <a:cubicBezTo>
                  <a:pt x="1569713" y="3729358"/>
                  <a:pt x="1581880" y="3737470"/>
                  <a:pt x="1614328" y="3737470"/>
                </a:cubicBezTo>
                <a:cubicBezTo>
                  <a:pt x="1841470" y="3737470"/>
                  <a:pt x="2068612" y="3737470"/>
                  <a:pt x="2295753" y="3737470"/>
                </a:cubicBezTo>
                <a:cubicBezTo>
                  <a:pt x="2526953" y="3737470"/>
                  <a:pt x="2754095" y="3737470"/>
                  <a:pt x="2981236" y="3737470"/>
                </a:cubicBezTo>
                <a:cubicBezTo>
                  <a:pt x="3009627" y="3737470"/>
                  <a:pt x="3021798" y="3733412"/>
                  <a:pt x="3021798" y="3700963"/>
                </a:cubicBezTo>
                <a:cubicBezTo>
                  <a:pt x="3017739" y="3615788"/>
                  <a:pt x="3021798" y="3530607"/>
                  <a:pt x="3021798" y="3445431"/>
                </a:cubicBezTo>
                <a:cubicBezTo>
                  <a:pt x="3021798" y="3412983"/>
                  <a:pt x="3013685" y="3408924"/>
                  <a:pt x="2985290" y="3408924"/>
                </a:cubicBezTo>
                <a:cubicBezTo>
                  <a:pt x="2522895" y="3408924"/>
                  <a:pt x="2064558" y="3408924"/>
                  <a:pt x="1606216" y="3408924"/>
                </a:cubicBezTo>
                <a:close/>
                <a:moveTo>
                  <a:pt x="1557543" y="1839217"/>
                </a:moveTo>
                <a:cubicBezTo>
                  <a:pt x="1293899" y="1835159"/>
                  <a:pt x="1078923" y="2046076"/>
                  <a:pt x="1078923" y="2309724"/>
                </a:cubicBezTo>
                <a:cubicBezTo>
                  <a:pt x="1078923" y="2569314"/>
                  <a:pt x="1289840" y="2784285"/>
                  <a:pt x="1553489" y="2788344"/>
                </a:cubicBezTo>
                <a:cubicBezTo>
                  <a:pt x="1813080" y="2788344"/>
                  <a:pt x="2032109" y="2577427"/>
                  <a:pt x="2032109" y="2317836"/>
                </a:cubicBezTo>
                <a:cubicBezTo>
                  <a:pt x="2032109" y="2054188"/>
                  <a:pt x="1821192" y="1839217"/>
                  <a:pt x="1557543" y="1839217"/>
                </a:cubicBezTo>
                <a:close/>
                <a:moveTo>
                  <a:pt x="3033964" y="1822992"/>
                </a:moveTo>
                <a:cubicBezTo>
                  <a:pt x="2770319" y="1822992"/>
                  <a:pt x="2551290" y="2046076"/>
                  <a:pt x="2555344" y="2309724"/>
                </a:cubicBezTo>
                <a:cubicBezTo>
                  <a:pt x="2555344" y="2569314"/>
                  <a:pt x="2778431" y="2784285"/>
                  <a:pt x="3046134" y="2784285"/>
                </a:cubicBezTo>
                <a:cubicBezTo>
                  <a:pt x="3305724" y="2780231"/>
                  <a:pt x="3516642" y="2565256"/>
                  <a:pt x="3516642" y="2305666"/>
                </a:cubicBezTo>
                <a:cubicBezTo>
                  <a:pt x="3512584" y="2042022"/>
                  <a:pt x="3293554" y="1822992"/>
                  <a:pt x="3033964" y="1822992"/>
                </a:cubicBezTo>
                <a:close/>
                <a:moveTo>
                  <a:pt x="2299811" y="282"/>
                </a:moveTo>
                <a:cubicBezTo>
                  <a:pt x="2341386" y="-224"/>
                  <a:pt x="2382960" y="-224"/>
                  <a:pt x="2425548" y="1802"/>
                </a:cubicBezTo>
                <a:cubicBezTo>
                  <a:pt x="2453943" y="5861"/>
                  <a:pt x="2470168" y="18027"/>
                  <a:pt x="2474222" y="50476"/>
                </a:cubicBezTo>
                <a:cubicBezTo>
                  <a:pt x="2474222" y="66700"/>
                  <a:pt x="2474222" y="86983"/>
                  <a:pt x="2474222" y="107261"/>
                </a:cubicBezTo>
                <a:cubicBezTo>
                  <a:pt x="2474222" y="379022"/>
                  <a:pt x="2474222" y="654836"/>
                  <a:pt x="2474222" y="926593"/>
                </a:cubicBezTo>
                <a:cubicBezTo>
                  <a:pt x="2474222" y="942817"/>
                  <a:pt x="2474222" y="959042"/>
                  <a:pt x="2474222" y="975266"/>
                </a:cubicBezTo>
                <a:cubicBezTo>
                  <a:pt x="2474222" y="999602"/>
                  <a:pt x="2486392" y="1011773"/>
                  <a:pt x="2510729" y="1011773"/>
                </a:cubicBezTo>
                <a:cubicBezTo>
                  <a:pt x="2526953" y="1011773"/>
                  <a:pt x="2543178" y="1011773"/>
                  <a:pt x="2559402" y="1011773"/>
                </a:cubicBezTo>
                <a:cubicBezTo>
                  <a:pt x="3033964" y="1011773"/>
                  <a:pt x="3508530" y="1011773"/>
                  <a:pt x="3983091" y="1011773"/>
                </a:cubicBezTo>
                <a:cubicBezTo>
                  <a:pt x="4015540" y="1011773"/>
                  <a:pt x="4043935" y="1011773"/>
                  <a:pt x="4076384" y="1019885"/>
                </a:cubicBezTo>
                <a:cubicBezTo>
                  <a:pt x="4157506" y="1048276"/>
                  <a:pt x="4210233" y="1117231"/>
                  <a:pt x="4210233" y="1210520"/>
                </a:cubicBezTo>
                <a:cubicBezTo>
                  <a:pt x="4210233" y="1409270"/>
                  <a:pt x="4210233" y="1603963"/>
                  <a:pt x="4210233" y="1798656"/>
                </a:cubicBezTo>
                <a:cubicBezTo>
                  <a:pt x="4210233" y="1912227"/>
                  <a:pt x="4202120" y="1900056"/>
                  <a:pt x="4311638" y="1900056"/>
                </a:cubicBezTo>
                <a:cubicBezTo>
                  <a:pt x="4356252" y="1900056"/>
                  <a:pt x="4396814" y="1904114"/>
                  <a:pt x="4437374" y="1908168"/>
                </a:cubicBezTo>
                <a:cubicBezTo>
                  <a:pt x="4526609" y="1920339"/>
                  <a:pt x="4571228" y="1956842"/>
                  <a:pt x="4579340" y="2050134"/>
                </a:cubicBezTo>
                <a:cubicBezTo>
                  <a:pt x="4579340" y="2435461"/>
                  <a:pt x="4579340" y="2820792"/>
                  <a:pt x="4579340" y="3206120"/>
                </a:cubicBezTo>
                <a:cubicBezTo>
                  <a:pt x="4555004" y="3303466"/>
                  <a:pt x="4506330" y="3344027"/>
                  <a:pt x="4400872" y="3344027"/>
                </a:cubicBezTo>
                <a:cubicBezTo>
                  <a:pt x="4352198" y="3344027"/>
                  <a:pt x="4303526" y="3344027"/>
                  <a:pt x="4254852" y="3344027"/>
                </a:cubicBezTo>
                <a:cubicBezTo>
                  <a:pt x="4206179" y="3344027"/>
                  <a:pt x="4202120" y="3348085"/>
                  <a:pt x="4202120" y="3396758"/>
                </a:cubicBezTo>
                <a:cubicBezTo>
                  <a:pt x="4202120" y="3571168"/>
                  <a:pt x="4202120" y="3741524"/>
                  <a:pt x="4202120" y="3915939"/>
                </a:cubicBezTo>
                <a:cubicBezTo>
                  <a:pt x="4202120" y="4045734"/>
                  <a:pt x="4202120" y="4175529"/>
                  <a:pt x="4202120" y="4305324"/>
                </a:cubicBezTo>
                <a:cubicBezTo>
                  <a:pt x="4202120" y="4431061"/>
                  <a:pt x="4141281" y="4500017"/>
                  <a:pt x="4019598" y="4520295"/>
                </a:cubicBezTo>
                <a:cubicBezTo>
                  <a:pt x="3991204" y="4524354"/>
                  <a:pt x="3966867" y="4524354"/>
                  <a:pt x="3942530" y="4524354"/>
                </a:cubicBezTo>
                <a:cubicBezTo>
                  <a:pt x="2843329" y="4524354"/>
                  <a:pt x="1740070" y="4524354"/>
                  <a:pt x="640864" y="4524354"/>
                </a:cubicBezTo>
                <a:cubicBezTo>
                  <a:pt x="608415" y="4524354"/>
                  <a:pt x="575967" y="4524354"/>
                  <a:pt x="543518" y="4516241"/>
                </a:cubicBezTo>
                <a:cubicBezTo>
                  <a:pt x="442117" y="4495959"/>
                  <a:pt x="385332" y="4427007"/>
                  <a:pt x="381274" y="4321549"/>
                </a:cubicBezTo>
                <a:cubicBezTo>
                  <a:pt x="381274" y="4224202"/>
                  <a:pt x="381274" y="4122798"/>
                  <a:pt x="381274" y="4025451"/>
                </a:cubicBezTo>
                <a:cubicBezTo>
                  <a:pt x="381274" y="3822646"/>
                  <a:pt x="381274" y="3615788"/>
                  <a:pt x="381274" y="3408924"/>
                </a:cubicBezTo>
                <a:cubicBezTo>
                  <a:pt x="381274" y="3348085"/>
                  <a:pt x="377220" y="3344027"/>
                  <a:pt x="316376" y="3344027"/>
                </a:cubicBezTo>
                <a:cubicBezTo>
                  <a:pt x="267703" y="3344027"/>
                  <a:pt x="219030" y="3344027"/>
                  <a:pt x="170356" y="3344027"/>
                </a:cubicBezTo>
                <a:cubicBezTo>
                  <a:pt x="60844" y="3335915"/>
                  <a:pt x="0" y="3275075"/>
                  <a:pt x="0" y="3165559"/>
                </a:cubicBezTo>
                <a:cubicBezTo>
                  <a:pt x="0" y="2804568"/>
                  <a:pt x="0" y="2447631"/>
                  <a:pt x="0" y="2086637"/>
                </a:cubicBezTo>
                <a:cubicBezTo>
                  <a:pt x="0" y="1977124"/>
                  <a:pt x="52732" y="1924393"/>
                  <a:pt x="158190" y="1900056"/>
                </a:cubicBezTo>
                <a:cubicBezTo>
                  <a:pt x="214976" y="1891944"/>
                  <a:pt x="267703" y="1891944"/>
                  <a:pt x="324488" y="1891944"/>
                </a:cubicBezTo>
                <a:cubicBezTo>
                  <a:pt x="381274" y="1891944"/>
                  <a:pt x="385332" y="1887890"/>
                  <a:pt x="385332" y="1831105"/>
                </a:cubicBezTo>
                <a:cubicBezTo>
                  <a:pt x="385332" y="1624242"/>
                  <a:pt x="385332" y="1417383"/>
                  <a:pt x="385332" y="1210520"/>
                </a:cubicBezTo>
                <a:cubicBezTo>
                  <a:pt x="389386" y="1109119"/>
                  <a:pt x="442117" y="1040163"/>
                  <a:pt x="531352" y="1015827"/>
                </a:cubicBezTo>
                <a:cubicBezTo>
                  <a:pt x="559742" y="1007715"/>
                  <a:pt x="588137" y="1007715"/>
                  <a:pt x="616528" y="1007715"/>
                </a:cubicBezTo>
                <a:cubicBezTo>
                  <a:pt x="1091094" y="1007715"/>
                  <a:pt x="1565655" y="1007715"/>
                  <a:pt x="2040221" y="1007715"/>
                </a:cubicBezTo>
                <a:cubicBezTo>
                  <a:pt x="2125397" y="1007715"/>
                  <a:pt x="2125397" y="1007715"/>
                  <a:pt x="2125397" y="926593"/>
                </a:cubicBezTo>
                <a:cubicBezTo>
                  <a:pt x="2125397" y="650778"/>
                  <a:pt x="2125397" y="379022"/>
                  <a:pt x="2125397" y="103207"/>
                </a:cubicBezTo>
                <a:cubicBezTo>
                  <a:pt x="2125397" y="86983"/>
                  <a:pt x="2125397" y="66700"/>
                  <a:pt x="2125397" y="50476"/>
                </a:cubicBezTo>
                <a:cubicBezTo>
                  <a:pt x="2125397" y="18027"/>
                  <a:pt x="2141621" y="1802"/>
                  <a:pt x="2174070" y="1802"/>
                </a:cubicBezTo>
                <a:cubicBezTo>
                  <a:pt x="2216661" y="1802"/>
                  <a:pt x="2258236" y="789"/>
                  <a:pt x="2299811" y="2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24919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28CE599-85BD-0395-8386-E7C03633B66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08513" y="762000"/>
            <a:ext cx="2374900" cy="5334000"/>
          </a:xfrm>
          <a:custGeom>
            <a:avLst/>
            <a:gdLst>
              <a:gd name="connsiteX0" fmla="*/ 0 w 2374900"/>
              <a:gd name="connsiteY0" fmla="*/ 0 h 5334000"/>
              <a:gd name="connsiteX1" fmla="*/ 2374900 w 2374900"/>
              <a:gd name="connsiteY1" fmla="*/ 0 h 5334000"/>
              <a:gd name="connsiteX2" fmla="*/ 2374900 w 2374900"/>
              <a:gd name="connsiteY2" fmla="*/ 5334000 h 5334000"/>
              <a:gd name="connsiteX3" fmla="*/ 0 w 2374900"/>
              <a:gd name="connsiteY3" fmla="*/ 5334000 h 53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4900" h="5334000">
                <a:moveTo>
                  <a:pt x="0" y="0"/>
                </a:moveTo>
                <a:lnTo>
                  <a:pt x="2374900" y="0"/>
                </a:lnTo>
                <a:lnTo>
                  <a:pt x="2374900" y="5334000"/>
                </a:lnTo>
                <a:lnTo>
                  <a:pt x="0" y="5334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950419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2A7DCB-66D1-5C41-6A47-B68D15449B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86400" y="1462485"/>
            <a:ext cx="6705601" cy="3933030"/>
          </a:xfrm>
          <a:custGeom>
            <a:avLst/>
            <a:gdLst>
              <a:gd name="connsiteX0" fmla="*/ 655518 w 6705601"/>
              <a:gd name="connsiteY0" fmla="*/ 0 h 3933030"/>
              <a:gd name="connsiteX1" fmla="*/ 6705601 w 6705601"/>
              <a:gd name="connsiteY1" fmla="*/ 0 h 3933030"/>
              <a:gd name="connsiteX2" fmla="*/ 6705601 w 6705601"/>
              <a:gd name="connsiteY2" fmla="*/ 3933030 h 3933030"/>
              <a:gd name="connsiteX3" fmla="*/ 0 w 6705601"/>
              <a:gd name="connsiteY3" fmla="*/ 3933030 h 3933030"/>
              <a:gd name="connsiteX4" fmla="*/ 0 w 6705601"/>
              <a:gd name="connsiteY4" fmla="*/ 655518 h 3933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5601" h="3933030">
                <a:moveTo>
                  <a:pt x="655518" y="0"/>
                </a:moveTo>
                <a:lnTo>
                  <a:pt x="6705601" y="0"/>
                </a:lnTo>
                <a:lnTo>
                  <a:pt x="6705601" y="3933030"/>
                </a:lnTo>
                <a:lnTo>
                  <a:pt x="0" y="3933030"/>
                </a:lnTo>
                <a:lnTo>
                  <a:pt x="0" y="6555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618261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BD924B-88F7-44A1-9F23-BB0A0C9158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022590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A9FB864-528A-607E-CB99-F5C44DB4735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4778478"/>
            <a:ext cx="12192000" cy="2079523"/>
          </a:xfrm>
          <a:custGeom>
            <a:avLst/>
            <a:gdLst>
              <a:gd name="connsiteX0" fmla="*/ 0 w 12192000"/>
              <a:gd name="connsiteY0" fmla="*/ 0 h 2079523"/>
              <a:gd name="connsiteX1" fmla="*/ 12192000 w 12192000"/>
              <a:gd name="connsiteY1" fmla="*/ 0 h 2079523"/>
              <a:gd name="connsiteX2" fmla="*/ 12192000 w 12192000"/>
              <a:gd name="connsiteY2" fmla="*/ 2079523 h 2079523"/>
              <a:gd name="connsiteX3" fmla="*/ 0 w 12192000"/>
              <a:gd name="connsiteY3" fmla="*/ 2079523 h 2079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079523">
                <a:moveTo>
                  <a:pt x="0" y="0"/>
                </a:moveTo>
                <a:lnTo>
                  <a:pt x="12192000" y="0"/>
                </a:lnTo>
                <a:lnTo>
                  <a:pt x="12192000" y="2079523"/>
                </a:lnTo>
                <a:lnTo>
                  <a:pt x="0" y="2079523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86446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BC42CE8-7016-70D9-215D-92BAF3EFEA6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49993" y="0"/>
            <a:ext cx="5191125" cy="6858000"/>
          </a:xfrm>
          <a:custGeom>
            <a:avLst/>
            <a:gdLst>
              <a:gd name="connsiteX0" fmla="*/ 0 w 5191125"/>
              <a:gd name="connsiteY0" fmla="*/ 0 h 6858000"/>
              <a:gd name="connsiteX1" fmla="*/ 5191125 w 5191125"/>
              <a:gd name="connsiteY1" fmla="*/ 0 h 6858000"/>
              <a:gd name="connsiteX2" fmla="*/ 5191125 w 5191125"/>
              <a:gd name="connsiteY2" fmla="*/ 6858000 h 6858000"/>
              <a:gd name="connsiteX3" fmla="*/ 0 w 51911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91125" h="6858000">
                <a:moveTo>
                  <a:pt x="0" y="0"/>
                </a:moveTo>
                <a:lnTo>
                  <a:pt x="5191125" y="0"/>
                </a:lnTo>
                <a:lnTo>
                  <a:pt x="519112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993654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B432B9B-29A5-97E0-A62A-DCD595F55946}"/>
              </a:ext>
            </a:extLst>
          </p:cNvPr>
          <p:cNvSpPr txBox="1"/>
          <p:nvPr userDrawn="1"/>
        </p:nvSpPr>
        <p:spPr>
          <a:xfrm>
            <a:off x="11099800" y="6281665"/>
            <a:ext cx="716833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algn="r" defTabSz="914400" rtl="0" eaLnBrk="1" latinLnBrk="0" hangingPunct="1"/>
            <a:fld id="{4449449E-5AE0-413A-898C-4571D01E0173}" type="slidenum">
              <a:rPr lang="en-US" sz="1000" kern="1200" smtClean="0">
                <a:solidFill>
                  <a:schemeClr val="bg1">
                    <a:lumMod val="65000"/>
                  </a:schemeClr>
                </a:solidFill>
                <a:latin typeface="Roboto" panose="02000000000000000000" pitchFamily="2" charset="0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chemeClr val="bg1">
                  <a:lumMod val="65000"/>
                </a:schemeClr>
              </a:solidFill>
              <a:latin typeface="Roboto" panose="02000000000000000000" pitchFamily="2" charset="0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DDC179-EF1B-C073-F670-8032C6B41F77}"/>
              </a:ext>
            </a:extLst>
          </p:cNvPr>
          <p:cNvGrpSpPr/>
          <p:nvPr userDrawn="1"/>
        </p:nvGrpSpPr>
        <p:grpSpPr>
          <a:xfrm>
            <a:off x="8078838" y="-292072"/>
            <a:ext cx="4513212" cy="3316154"/>
            <a:chOff x="7950200" y="0"/>
            <a:chExt cx="4244346" cy="3118602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6C74329-34FD-858C-B513-A2057A441D0E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1E54676-6B67-05F2-EBB4-259E6A3AD4F0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3DF716B-D9F4-E502-FC91-96C94AEC3745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A9B6CDF-9FCE-C08D-D4CE-B78AB1536D07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77F58AC-602E-61F3-41DD-3F7D0DD21264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0DD28B0-A6B9-DAFF-EA3E-B3D36A92E7AB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8BE166C-F6E2-17F1-28F1-7DE9019AEC6B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26E6B3F-A4C9-9F13-CAF7-07C6067898CB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F0C1499-68F1-72AA-655B-19CB8A2327BF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5E83B53-BCE0-433D-FA2E-5B166AEE6107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E07E948-AA5F-36AB-29CF-DF5D8512C124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00A56A8-7773-0FB8-5E75-53855F54B7AA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BA4583D-4E4F-0C17-C131-FA9C3005B011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EE1B7A9-101F-E16B-7A9D-C13C8A1C8F89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CA6C222-8E3C-2876-9ABE-D6B08DB68A2D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AD8AA5E-9F47-9D99-B036-90D48F9FA34F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9837014-151C-80A1-C7D5-0A829E302E17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B9DA451-F5A1-4992-796D-C33021AC8ADC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44" name="Graphic 25">
            <a:extLst>
              <a:ext uri="{FF2B5EF4-FFF2-40B4-BE49-F238E27FC236}">
                <a16:creationId xmlns:a16="http://schemas.microsoft.com/office/drawing/2014/main" id="{A47D5688-8311-5D90-2C9A-EBA192FB5BE6}"/>
              </a:ext>
            </a:extLst>
          </p:cNvPr>
          <p:cNvGrpSpPr/>
          <p:nvPr userDrawn="1"/>
        </p:nvGrpSpPr>
        <p:grpSpPr>
          <a:xfrm flipV="1">
            <a:off x="-424755" y="4441367"/>
            <a:ext cx="3536316" cy="2598061"/>
            <a:chOff x="1431668" y="0"/>
            <a:chExt cx="9331210" cy="6855452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CAF1B37-B702-E385-45BE-865A0CFBA9E6}"/>
                </a:ext>
              </a:extLst>
            </p:cNvPr>
            <p:cNvSpPr/>
            <p:nvPr/>
          </p:nvSpPr>
          <p:spPr>
            <a:xfrm>
              <a:off x="1431668" y="364231"/>
              <a:ext cx="5301100" cy="2069498"/>
            </a:xfrm>
            <a:custGeom>
              <a:avLst/>
              <a:gdLst>
                <a:gd name="connsiteX0" fmla="*/ 2387883 w 5301100"/>
                <a:gd name="connsiteY0" fmla="*/ 482034 h 2069498"/>
                <a:gd name="connsiteX1" fmla="*/ 2387883 w 5301100"/>
                <a:gd name="connsiteY1" fmla="*/ 1191395 h 2069498"/>
                <a:gd name="connsiteX2" fmla="*/ 3184481 w 5301100"/>
                <a:gd name="connsiteY2" fmla="*/ 1987992 h 2069498"/>
                <a:gd name="connsiteX3" fmla="*/ 5101792 w 5301100"/>
                <a:gd name="connsiteY3" fmla="*/ 1987992 h 2069498"/>
                <a:gd name="connsiteX4" fmla="*/ 5200491 w 5301100"/>
                <a:gd name="connsiteY4" fmla="*/ 2069499 h 2069498"/>
                <a:gd name="connsiteX5" fmla="*/ 5301101 w 5301100"/>
                <a:gd name="connsiteY5" fmla="*/ 1968889 h 2069498"/>
                <a:gd name="connsiteX6" fmla="*/ 5200491 w 5301100"/>
                <a:gd name="connsiteY6" fmla="*/ 1868280 h 2069498"/>
                <a:gd name="connsiteX7" fmla="*/ 5101792 w 5301100"/>
                <a:gd name="connsiteY7" fmla="*/ 1949786 h 2069498"/>
                <a:gd name="connsiteX8" fmla="*/ 3200400 w 5301100"/>
                <a:gd name="connsiteY8" fmla="*/ 1949786 h 2069498"/>
                <a:gd name="connsiteX9" fmla="*/ 2426089 w 5301100"/>
                <a:gd name="connsiteY9" fmla="*/ 1175475 h 2069498"/>
                <a:gd name="connsiteX10" fmla="*/ 2426089 w 5301100"/>
                <a:gd name="connsiteY10" fmla="*/ 466115 h 2069498"/>
                <a:gd name="connsiteX11" fmla="*/ 1959974 w 5301100"/>
                <a:gd name="connsiteY11" fmla="*/ 0 h 2069498"/>
                <a:gd name="connsiteX12" fmla="*/ 0 w 5301100"/>
                <a:gd name="connsiteY12" fmla="*/ 0 h 2069498"/>
                <a:gd name="connsiteX13" fmla="*/ 0 w 5301100"/>
                <a:gd name="connsiteY13" fmla="*/ 38206 h 2069498"/>
                <a:gd name="connsiteX14" fmla="*/ 1944692 w 5301100"/>
                <a:gd name="connsiteY14" fmla="*/ 38206 h 2069498"/>
                <a:gd name="connsiteX15" fmla="*/ 2387883 w 5301100"/>
                <a:gd name="connsiteY15" fmla="*/ 482034 h 2069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9498">
                  <a:moveTo>
                    <a:pt x="2387883" y="482034"/>
                  </a:moveTo>
                  <a:lnTo>
                    <a:pt x="2387883" y="1191395"/>
                  </a:lnTo>
                  <a:lnTo>
                    <a:pt x="3184481" y="1987992"/>
                  </a:lnTo>
                  <a:lnTo>
                    <a:pt x="5101792" y="1987992"/>
                  </a:lnTo>
                  <a:cubicBezTo>
                    <a:pt x="5110707" y="2034476"/>
                    <a:pt x="5151460" y="2069499"/>
                    <a:pt x="5200491" y="2069499"/>
                  </a:cubicBezTo>
                  <a:cubicBezTo>
                    <a:pt x="5255890" y="2069499"/>
                    <a:pt x="5301101" y="2024288"/>
                    <a:pt x="5301101" y="1968889"/>
                  </a:cubicBezTo>
                  <a:cubicBezTo>
                    <a:pt x="5301101" y="1913490"/>
                    <a:pt x="5255890" y="1868280"/>
                    <a:pt x="5200491" y="1868280"/>
                  </a:cubicBezTo>
                  <a:cubicBezTo>
                    <a:pt x="5151460" y="1868280"/>
                    <a:pt x="5110707" y="1903302"/>
                    <a:pt x="5101792" y="1949786"/>
                  </a:cubicBezTo>
                  <a:lnTo>
                    <a:pt x="3200400" y="1949786"/>
                  </a:lnTo>
                  <a:lnTo>
                    <a:pt x="2426089" y="1175475"/>
                  </a:lnTo>
                  <a:lnTo>
                    <a:pt x="2426089" y="466115"/>
                  </a:lnTo>
                  <a:lnTo>
                    <a:pt x="1959974" y="0"/>
                  </a:lnTo>
                  <a:lnTo>
                    <a:pt x="0" y="0"/>
                  </a:lnTo>
                  <a:lnTo>
                    <a:pt x="0" y="38206"/>
                  </a:lnTo>
                  <a:lnTo>
                    <a:pt x="1944692" y="38206"/>
                  </a:lnTo>
                  <a:lnTo>
                    <a:pt x="2387883" y="4820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73A9B02-97FC-38F3-0A9A-120BFCA3FC64}"/>
                </a:ext>
              </a:extLst>
            </p:cNvPr>
            <p:cNvSpPr/>
            <p:nvPr/>
          </p:nvSpPr>
          <p:spPr>
            <a:xfrm>
              <a:off x="1431668" y="922677"/>
              <a:ext cx="3805967" cy="3798326"/>
            </a:xfrm>
            <a:custGeom>
              <a:avLst/>
              <a:gdLst>
                <a:gd name="connsiteX0" fmla="*/ 1642227 w 3805967"/>
                <a:gd name="connsiteY0" fmla="*/ 244519 h 3798326"/>
                <a:gd name="connsiteX1" fmla="*/ 1642227 w 3805967"/>
                <a:gd name="connsiteY1" fmla="*/ 826526 h 3798326"/>
                <a:gd name="connsiteX2" fmla="*/ 2929137 w 3805967"/>
                <a:gd name="connsiteY2" fmla="*/ 2114073 h 3798326"/>
                <a:gd name="connsiteX3" fmla="*/ 2929137 w 3805967"/>
                <a:gd name="connsiteY3" fmla="*/ 2948876 h 3798326"/>
                <a:gd name="connsiteX4" fmla="*/ 3621941 w 3805967"/>
                <a:gd name="connsiteY4" fmla="*/ 3641681 h 3798326"/>
                <a:gd name="connsiteX5" fmla="*/ 3604748 w 3805967"/>
                <a:gd name="connsiteY5" fmla="*/ 3697716 h 3798326"/>
                <a:gd name="connsiteX6" fmla="*/ 3705358 w 3805967"/>
                <a:gd name="connsiteY6" fmla="*/ 3798326 h 3798326"/>
                <a:gd name="connsiteX7" fmla="*/ 3805967 w 3805967"/>
                <a:gd name="connsiteY7" fmla="*/ 3697716 h 3798326"/>
                <a:gd name="connsiteX8" fmla="*/ 3705358 w 3805967"/>
                <a:gd name="connsiteY8" fmla="*/ 3597107 h 3798326"/>
                <a:gd name="connsiteX9" fmla="*/ 3649322 w 3805967"/>
                <a:gd name="connsiteY9" fmla="*/ 3614300 h 3798326"/>
                <a:gd name="connsiteX10" fmla="*/ 2967343 w 3805967"/>
                <a:gd name="connsiteY10" fmla="*/ 2932957 h 3798326"/>
                <a:gd name="connsiteX11" fmla="*/ 2967343 w 3805967"/>
                <a:gd name="connsiteY11" fmla="*/ 2098153 h 3798326"/>
                <a:gd name="connsiteX12" fmla="*/ 1680433 w 3805967"/>
                <a:gd name="connsiteY12" fmla="*/ 811243 h 3798326"/>
                <a:gd name="connsiteX13" fmla="*/ 1680433 w 3805967"/>
                <a:gd name="connsiteY13" fmla="*/ 229237 h 3798326"/>
                <a:gd name="connsiteX14" fmla="*/ 1451196 w 3805967"/>
                <a:gd name="connsiteY14" fmla="*/ 0 h 3798326"/>
                <a:gd name="connsiteX15" fmla="*/ 0 w 3805967"/>
                <a:gd name="connsiteY15" fmla="*/ 0 h 3798326"/>
                <a:gd name="connsiteX16" fmla="*/ 0 w 3805967"/>
                <a:gd name="connsiteY16" fmla="*/ 38206 h 3798326"/>
                <a:gd name="connsiteX17" fmla="*/ 1435277 w 3805967"/>
                <a:gd name="connsiteY17" fmla="*/ 38206 h 3798326"/>
                <a:gd name="connsiteX18" fmla="*/ 1642227 w 3805967"/>
                <a:gd name="connsiteY18" fmla="*/ 244519 h 379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8326">
                  <a:moveTo>
                    <a:pt x="1642227" y="244519"/>
                  </a:moveTo>
                  <a:lnTo>
                    <a:pt x="1642227" y="826526"/>
                  </a:lnTo>
                  <a:lnTo>
                    <a:pt x="2929137" y="2114073"/>
                  </a:lnTo>
                  <a:lnTo>
                    <a:pt x="2929137" y="2948876"/>
                  </a:lnTo>
                  <a:lnTo>
                    <a:pt x="3621941" y="3641681"/>
                  </a:lnTo>
                  <a:cubicBezTo>
                    <a:pt x="3611116" y="3657600"/>
                    <a:pt x="3604748" y="3677340"/>
                    <a:pt x="3604748" y="3697716"/>
                  </a:cubicBezTo>
                  <a:cubicBezTo>
                    <a:pt x="3604748" y="3753115"/>
                    <a:pt x="3649959" y="3798326"/>
                    <a:pt x="3705358" y="3798326"/>
                  </a:cubicBezTo>
                  <a:cubicBezTo>
                    <a:pt x="3760757" y="3798326"/>
                    <a:pt x="3805967" y="3753115"/>
                    <a:pt x="3805967" y="3697716"/>
                  </a:cubicBezTo>
                  <a:cubicBezTo>
                    <a:pt x="3805967" y="3642318"/>
                    <a:pt x="3760757" y="3597107"/>
                    <a:pt x="3705358" y="3597107"/>
                  </a:cubicBezTo>
                  <a:cubicBezTo>
                    <a:pt x="3684344" y="3597107"/>
                    <a:pt x="3665241" y="3603475"/>
                    <a:pt x="3649322" y="3614300"/>
                  </a:cubicBezTo>
                  <a:lnTo>
                    <a:pt x="2967343" y="2932957"/>
                  </a:lnTo>
                  <a:lnTo>
                    <a:pt x="2967343" y="2098153"/>
                  </a:lnTo>
                  <a:lnTo>
                    <a:pt x="1680433" y="811243"/>
                  </a:lnTo>
                  <a:lnTo>
                    <a:pt x="1680433" y="229237"/>
                  </a:lnTo>
                  <a:lnTo>
                    <a:pt x="1451196" y="0"/>
                  </a:lnTo>
                  <a:lnTo>
                    <a:pt x="0" y="0"/>
                  </a:lnTo>
                  <a:lnTo>
                    <a:pt x="0" y="38206"/>
                  </a:lnTo>
                  <a:lnTo>
                    <a:pt x="1435277" y="38206"/>
                  </a:lnTo>
                  <a:lnTo>
                    <a:pt x="1642227" y="24451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A83F5AF-3690-FD68-0D72-6C13E3C822AF}"/>
                </a:ext>
              </a:extLst>
            </p:cNvPr>
            <p:cNvSpPr/>
            <p:nvPr/>
          </p:nvSpPr>
          <p:spPr>
            <a:xfrm>
              <a:off x="3927801" y="0"/>
              <a:ext cx="4668151" cy="945601"/>
            </a:xfrm>
            <a:custGeom>
              <a:avLst/>
              <a:gdLst>
                <a:gd name="connsiteX0" fmla="*/ 918857 w 4668151"/>
                <a:gd name="connsiteY0" fmla="*/ 945602 h 945601"/>
                <a:gd name="connsiteX1" fmla="*/ 1693168 w 4668151"/>
                <a:gd name="connsiteY1" fmla="*/ 945602 h 945601"/>
                <a:gd name="connsiteX2" fmla="*/ 1963795 w 4668151"/>
                <a:gd name="connsiteY2" fmla="*/ 674975 h 945601"/>
                <a:gd name="connsiteX3" fmla="*/ 2079050 w 4668151"/>
                <a:gd name="connsiteY3" fmla="*/ 718275 h 945601"/>
                <a:gd name="connsiteX4" fmla="*/ 2255435 w 4668151"/>
                <a:gd name="connsiteY4" fmla="*/ 553352 h 945601"/>
                <a:gd name="connsiteX5" fmla="*/ 4470117 w 4668151"/>
                <a:gd name="connsiteY5" fmla="*/ 553352 h 945601"/>
                <a:gd name="connsiteX6" fmla="*/ 4567543 w 4668151"/>
                <a:gd name="connsiteY6" fmla="*/ 629764 h 945601"/>
                <a:gd name="connsiteX7" fmla="*/ 4668152 w 4668151"/>
                <a:gd name="connsiteY7" fmla="*/ 529155 h 945601"/>
                <a:gd name="connsiteX8" fmla="*/ 4567543 w 4668151"/>
                <a:gd name="connsiteY8" fmla="*/ 428545 h 945601"/>
                <a:gd name="connsiteX9" fmla="*/ 4468207 w 4668151"/>
                <a:gd name="connsiteY9" fmla="*/ 514509 h 945601"/>
                <a:gd name="connsiteX10" fmla="*/ 2253525 w 4668151"/>
                <a:gd name="connsiteY10" fmla="*/ 514509 h 945601"/>
                <a:gd name="connsiteX11" fmla="*/ 2079050 w 4668151"/>
                <a:gd name="connsiteY11" fmla="*/ 364232 h 945601"/>
                <a:gd name="connsiteX12" fmla="*/ 1902665 w 4668151"/>
                <a:gd name="connsiteY12" fmla="*/ 540617 h 945601"/>
                <a:gd name="connsiteX13" fmla="*/ 1937687 w 4668151"/>
                <a:gd name="connsiteY13" fmla="*/ 646320 h 945601"/>
                <a:gd name="connsiteX14" fmla="*/ 1677249 w 4668151"/>
                <a:gd name="connsiteY14" fmla="*/ 906759 h 945601"/>
                <a:gd name="connsiteX15" fmla="*/ 934140 w 4668151"/>
                <a:gd name="connsiteY15" fmla="*/ 906759 h 945601"/>
                <a:gd name="connsiteX16" fmla="*/ 27381 w 4668151"/>
                <a:gd name="connsiteY16" fmla="*/ 0 h 945601"/>
                <a:gd name="connsiteX17" fmla="*/ 0 w 4668151"/>
                <a:gd name="connsiteY17" fmla="*/ 27381 h 945601"/>
                <a:gd name="connsiteX18" fmla="*/ 912490 w 4668151"/>
                <a:gd name="connsiteY18" fmla="*/ 939871 h 945601"/>
                <a:gd name="connsiteX19" fmla="*/ 918857 w 4668151"/>
                <a:gd name="connsiteY19" fmla="*/ 945602 h 945601"/>
                <a:gd name="connsiteX20" fmla="*/ 1940235 w 4668151"/>
                <a:gd name="connsiteY20" fmla="*/ 540617 h 945601"/>
                <a:gd name="connsiteX21" fmla="*/ 2078414 w 4668151"/>
                <a:gd name="connsiteY21" fmla="*/ 402438 h 945601"/>
                <a:gd name="connsiteX22" fmla="*/ 2214045 w 4668151"/>
                <a:gd name="connsiteY22" fmla="*/ 514509 h 945601"/>
                <a:gd name="connsiteX23" fmla="*/ 2216592 w 4668151"/>
                <a:gd name="connsiteY23" fmla="*/ 541254 h 945601"/>
                <a:gd name="connsiteX24" fmla="*/ 2215956 w 4668151"/>
                <a:gd name="connsiteY24" fmla="*/ 553352 h 945601"/>
                <a:gd name="connsiteX25" fmla="*/ 2078414 w 4668151"/>
                <a:gd name="connsiteY25" fmla="*/ 680069 h 945601"/>
                <a:gd name="connsiteX26" fmla="*/ 1990539 w 4668151"/>
                <a:gd name="connsiteY26" fmla="*/ 648231 h 945601"/>
                <a:gd name="connsiteX27" fmla="*/ 1964432 w 4668151"/>
                <a:gd name="connsiteY27" fmla="*/ 620213 h 945601"/>
                <a:gd name="connsiteX28" fmla="*/ 1940235 w 4668151"/>
                <a:gd name="connsiteY28" fmla="*/ 540617 h 94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1" h="945601">
                  <a:moveTo>
                    <a:pt x="918857" y="945602"/>
                  </a:moveTo>
                  <a:lnTo>
                    <a:pt x="1693168" y="945602"/>
                  </a:lnTo>
                  <a:lnTo>
                    <a:pt x="1963795" y="674975"/>
                  </a:lnTo>
                  <a:cubicBezTo>
                    <a:pt x="1994997" y="701719"/>
                    <a:pt x="2035113" y="718275"/>
                    <a:pt x="2079050" y="718275"/>
                  </a:cubicBezTo>
                  <a:cubicBezTo>
                    <a:pt x="2172655" y="718275"/>
                    <a:pt x="2249068" y="645684"/>
                    <a:pt x="2255435" y="553352"/>
                  </a:cubicBezTo>
                  <a:lnTo>
                    <a:pt x="4470117" y="553352"/>
                  </a:lnTo>
                  <a:cubicBezTo>
                    <a:pt x="4480942" y="597289"/>
                    <a:pt x="4520422" y="629764"/>
                    <a:pt x="4567543" y="629764"/>
                  </a:cubicBezTo>
                  <a:cubicBezTo>
                    <a:pt x="4622942" y="629764"/>
                    <a:pt x="4668152" y="584554"/>
                    <a:pt x="4668152" y="529155"/>
                  </a:cubicBezTo>
                  <a:cubicBezTo>
                    <a:pt x="4668152" y="473756"/>
                    <a:pt x="4622942" y="428545"/>
                    <a:pt x="4567543" y="428545"/>
                  </a:cubicBezTo>
                  <a:cubicBezTo>
                    <a:pt x="4517238" y="428545"/>
                    <a:pt x="4475212" y="466115"/>
                    <a:pt x="4468207" y="514509"/>
                  </a:cubicBezTo>
                  <a:lnTo>
                    <a:pt x="2253525" y="514509"/>
                  </a:lnTo>
                  <a:cubicBezTo>
                    <a:pt x="2240790" y="429819"/>
                    <a:pt x="2167561" y="364232"/>
                    <a:pt x="2079050" y="364232"/>
                  </a:cubicBezTo>
                  <a:cubicBezTo>
                    <a:pt x="1981625" y="364232"/>
                    <a:pt x="1902665" y="443191"/>
                    <a:pt x="1902665" y="540617"/>
                  </a:cubicBezTo>
                  <a:cubicBezTo>
                    <a:pt x="1902665" y="580096"/>
                    <a:pt x="1916038" y="617029"/>
                    <a:pt x="1937687" y="646320"/>
                  </a:cubicBezTo>
                  <a:lnTo>
                    <a:pt x="1677249" y="906759"/>
                  </a:lnTo>
                  <a:lnTo>
                    <a:pt x="934140" y="906759"/>
                  </a:lnTo>
                  <a:lnTo>
                    <a:pt x="27381" y="0"/>
                  </a:lnTo>
                  <a:lnTo>
                    <a:pt x="0" y="27381"/>
                  </a:lnTo>
                  <a:lnTo>
                    <a:pt x="912490" y="939871"/>
                  </a:lnTo>
                  <a:lnTo>
                    <a:pt x="918857" y="945602"/>
                  </a:lnTo>
                  <a:close/>
                  <a:moveTo>
                    <a:pt x="1940235" y="540617"/>
                  </a:moveTo>
                  <a:cubicBezTo>
                    <a:pt x="1940235" y="464204"/>
                    <a:pt x="2002001" y="402438"/>
                    <a:pt x="2078414" y="402438"/>
                  </a:cubicBezTo>
                  <a:cubicBezTo>
                    <a:pt x="2145911" y="402438"/>
                    <a:pt x="2201947" y="450832"/>
                    <a:pt x="2214045" y="514509"/>
                  </a:cubicBezTo>
                  <a:cubicBezTo>
                    <a:pt x="2215956" y="522787"/>
                    <a:pt x="2216592" y="531702"/>
                    <a:pt x="2216592" y="541254"/>
                  </a:cubicBezTo>
                  <a:cubicBezTo>
                    <a:pt x="2216592" y="545074"/>
                    <a:pt x="2216592" y="549532"/>
                    <a:pt x="2215956" y="553352"/>
                  </a:cubicBezTo>
                  <a:cubicBezTo>
                    <a:pt x="2209588" y="624033"/>
                    <a:pt x="2150368" y="680069"/>
                    <a:pt x="2078414" y="680069"/>
                  </a:cubicBezTo>
                  <a:cubicBezTo>
                    <a:pt x="2045302" y="680069"/>
                    <a:pt x="2014100" y="667971"/>
                    <a:pt x="1990539" y="648231"/>
                  </a:cubicBezTo>
                  <a:cubicBezTo>
                    <a:pt x="1980351" y="639953"/>
                    <a:pt x="1972073" y="630401"/>
                    <a:pt x="1964432" y="620213"/>
                  </a:cubicBezTo>
                  <a:cubicBezTo>
                    <a:pt x="1949149" y="596652"/>
                    <a:pt x="1940235" y="569908"/>
                    <a:pt x="1940235" y="54061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B99D362-AF3E-ADE6-719F-D08264B4CD8C}"/>
                </a:ext>
              </a:extLst>
            </p:cNvPr>
            <p:cNvSpPr/>
            <p:nvPr/>
          </p:nvSpPr>
          <p:spPr>
            <a:xfrm>
              <a:off x="4653718" y="839898"/>
              <a:ext cx="6109160" cy="522787"/>
            </a:xfrm>
            <a:custGeom>
              <a:avLst/>
              <a:gdLst>
                <a:gd name="connsiteX0" fmla="*/ 6007914 w 6109160"/>
                <a:gd name="connsiteY0" fmla="*/ 205676 h 522787"/>
                <a:gd name="connsiteX1" fmla="*/ 5951878 w 6109160"/>
                <a:gd name="connsiteY1" fmla="*/ 222869 h 522787"/>
                <a:gd name="connsiteX2" fmla="*/ 5729009 w 6109160"/>
                <a:gd name="connsiteY2" fmla="*/ 0 h 522787"/>
                <a:gd name="connsiteX3" fmla="*/ 1556900 w 6109160"/>
                <a:gd name="connsiteY3" fmla="*/ 0 h 522787"/>
                <a:gd name="connsiteX4" fmla="*/ 1153825 w 6109160"/>
                <a:gd name="connsiteY4" fmla="*/ 403075 h 522787"/>
                <a:gd name="connsiteX5" fmla="*/ 199309 w 6109160"/>
                <a:gd name="connsiteY5" fmla="*/ 403075 h 522787"/>
                <a:gd name="connsiteX6" fmla="*/ 100609 w 6109160"/>
                <a:gd name="connsiteY6" fmla="*/ 321568 h 522787"/>
                <a:gd name="connsiteX7" fmla="*/ 0 w 6109160"/>
                <a:gd name="connsiteY7" fmla="*/ 422178 h 522787"/>
                <a:gd name="connsiteX8" fmla="*/ 100609 w 6109160"/>
                <a:gd name="connsiteY8" fmla="*/ 522787 h 522787"/>
                <a:gd name="connsiteX9" fmla="*/ 199309 w 6109160"/>
                <a:gd name="connsiteY9" fmla="*/ 441281 h 522787"/>
                <a:gd name="connsiteX10" fmla="*/ 1169744 w 6109160"/>
                <a:gd name="connsiteY10" fmla="*/ 441281 h 522787"/>
                <a:gd name="connsiteX11" fmla="*/ 1572819 w 6109160"/>
                <a:gd name="connsiteY11" fmla="*/ 38843 h 522787"/>
                <a:gd name="connsiteX12" fmla="*/ 5713727 w 6109160"/>
                <a:gd name="connsiteY12" fmla="*/ 38843 h 522787"/>
                <a:gd name="connsiteX13" fmla="*/ 5925134 w 6109160"/>
                <a:gd name="connsiteY13" fmla="*/ 250250 h 522787"/>
                <a:gd name="connsiteX14" fmla="*/ 5907942 w 6109160"/>
                <a:gd name="connsiteY14" fmla="*/ 306286 h 522787"/>
                <a:gd name="connsiteX15" fmla="*/ 6008551 w 6109160"/>
                <a:gd name="connsiteY15" fmla="*/ 406895 h 522787"/>
                <a:gd name="connsiteX16" fmla="*/ 6109160 w 6109160"/>
                <a:gd name="connsiteY16" fmla="*/ 306286 h 522787"/>
                <a:gd name="connsiteX17" fmla="*/ 6007914 w 6109160"/>
                <a:gd name="connsiteY17" fmla="*/ 205676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60" h="522787">
                  <a:moveTo>
                    <a:pt x="6007914" y="205676"/>
                  </a:moveTo>
                  <a:cubicBezTo>
                    <a:pt x="5986900" y="205676"/>
                    <a:pt x="5967797" y="212044"/>
                    <a:pt x="5951878" y="222869"/>
                  </a:cubicBezTo>
                  <a:lnTo>
                    <a:pt x="5729009" y="0"/>
                  </a:lnTo>
                  <a:lnTo>
                    <a:pt x="1556900" y="0"/>
                  </a:lnTo>
                  <a:lnTo>
                    <a:pt x="1153825" y="403075"/>
                  </a:lnTo>
                  <a:lnTo>
                    <a:pt x="199309" y="403075"/>
                  </a:lnTo>
                  <a:cubicBezTo>
                    <a:pt x="190394" y="356591"/>
                    <a:pt x="149641" y="321568"/>
                    <a:pt x="100609" y="321568"/>
                  </a:cubicBezTo>
                  <a:cubicBezTo>
                    <a:pt x="45210" y="321568"/>
                    <a:pt x="0" y="366779"/>
                    <a:pt x="0" y="422178"/>
                  </a:cubicBezTo>
                  <a:cubicBezTo>
                    <a:pt x="0" y="477577"/>
                    <a:pt x="45210" y="522787"/>
                    <a:pt x="100609" y="522787"/>
                  </a:cubicBezTo>
                  <a:cubicBezTo>
                    <a:pt x="149641" y="522787"/>
                    <a:pt x="190394" y="487765"/>
                    <a:pt x="199309" y="441281"/>
                  </a:cubicBezTo>
                  <a:lnTo>
                    <a:pt x="1169744" y="441281"/>
                  </a:lnTo>
                  <a:lnTo>
                    <a:pt x="1572819" y="38843"/>
                  </a:lnTo>
                  <a:lnTo>
                    <a:pt x="5713727" y="38843"/>
                  </a:lnTo>
                  <a:lnTo>
                    <a:pt x="5925134" y="250250"/>
                  </a:lnTo>
                  <a:cubicBezTo>
                    <a:pt x="5914309" y="266169"/>
                    <a:pt x="5907942" y="285909"/>
                    <a:pt x="5907942" y="306286"/>
                  </a:cubicBezTo>
                  <a:cubicBezTo>
                    <a:pt x="5907942" y="361685"/>
                    <a:pt x="5953152" y="406895"/>
                    <a:pt x="6008551" y="406895"/>
                  </a:cubicBezTo>
                  <a:cubicBezTo>
                    <a:pt x="6063950" y="406895"/>
                    <a:pt x="6109160" y="361685"/>
                    <a:pt x="6109160" y="306286"/>
                  </a:cubicBezTo>
                  <a:cubicBezTo>
                    <a:pt x="6109160" y="250887"/>
                    <a:pt x="6063950" y="205676"/>
                    <a:pt x="6007914" y="20567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8587653-7610-643D-95CD-3069799FCACF}"/>
                </a:ext>
              </a:extLst>
            </p:cNvPr>
            <p:cNvSpPr/>
            <p:nvPr/>
          </p:nvSpPr>
          <p:spPr>
            <a:xfrm>
              <a:off x="1937262" y="4370781"/>
              <a:ext cx="1263349" cy="2484671"/>
            </a:xfrm>
            <a:custGeom>
              <a:avLst/>
              <a:gdLst>
                <a:gd name="connsiteX0" fmla="*/ 1162740 w 1263349"/>
                <a:gd name="connsiteY0" fmla="*/ 2284090 h 2484671"/>
                <a:gd name="connsiteX1" fmla="*/ 1106704 w 1263349"/>
                <a:gd name="connsiteY1" fmla="*/ 2301283 h 2484671"/>
                <a:gd name="connsiteX2" fmla="*/ 119713 w 1263349"/>
                <a:gd name="connsiteY2" fmla="*/ 1314291 h 2484671"/>
                <a:gd name="connsiteX3" fmla="*/ 119713 w 1263349"/>
                <a:gd name="connsiteY3" fmla="*/ 199309 h 2484671"/>
                <a:gd name="connsiteX4" fmla="*/ 201219 w 1263349"/>
                <a:gd name="connsiteY4" fmla="*/ 100609 h 2484671"/>
                <a:gd name="connsiteX5" fmla="*/ 100609 w 1263349"/>
                <a:gd name="connsiteY5" fmla="*/ 0 h 2484671"/>
                <a:gd name="connsiteX6" fmla="*/ 0 w 1263349"/>
                <a:gd name="connsiteY6" fmla="*/ 100609 h 2484671"/>
                <a:gd name="connsiteX7" fmla="*/ 81506 w 1263349"/>
                <a:gd name="connsiteY7" fmla="*/ 199309 h 2484671"/>
                <a:gd name="connsiteX8" fmla="*/ 81506 w 1263349"/>
                <a:gd name="connsiteY8" fmla="*/ 1330210 h 2484671"/>
                <a:gd name="connsiteX9" fmla="*/ 1079323 w 1263349"/>
                <a:gd name="connsiteY9" fmla="*/ 2328027 h 2484671"/>
                <a:gd name="connsiteX10" fmla="*/ 1062130 w 1263349"/>
                <a:gd name="connsiteY10" fmla="*/ 2384063 h 2484671"/>
                <a:gd name="connsiteX11" fmla="*/ 1162740 w 1263349"/>
                <a:gd name="connsiteY11" fmla="*/ 2484672 h 2484671"/>
                <a:gd name="connsiteX12" fmla="*/ 1263349 w 1263349"/>
                <a:gd name="connsiteY12" fmla="*/ 2384063 h 2484671"/>
                <a:gd name="connsiteX13" fmla="*/ 1162740 w 1263349"/>
                <a:gd name="connsiteY13" fmla="*/ 2284090 h 2484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4671">
                  <a:moveTo>
                    <a:pt x="1162740" y="2284090"/>
                  </a:moveTo>
                  <a:cubicBezTo>
                    <a:pt x="1141727" y="2284090"/>
                    <a:pt x="1122623" y="2290457"/>
                    <a:pt x="1106704" y="2301283"/>
                  </a:cubicBezTo>
                  <a:lnTo>
                    <a:pt x="119713" y="1314291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49641"/>
                    <a:pt x="35022" y="190394"/>
                    <a:pt x="81506" y="199309"/>
                  </a:cubicBezTo>
                  <a:lnTo>
                    <a:pt x="81506" y="1330210"/>
                  </a:lnTo>
                  <a:lnTo>
                    <a:pt x="1079323" y="2328027"/>
                  </a:lnTo>
                  <a:cubicBezTo>
                    <a:pt x="1068498" y="2343946"/>
                    <a:pt x="1062130" y="2363686"/>
                    <a:pt x="1062130" y="2384063"/>
                  </a:cubicBezTo>
                  <a:cubicBezTo>
                    <a:pt x="1062130" y="2439461"/>
                    <a:pt x="1107341" y="2484672"/>
                    <a:pt x="1162740" y="2484672"/>
                  </a:cubicBezTo>
                  <a:cubicBezTo>
                    <a:pt x="1218139" y="2484672"/>
                    <a:pt x="1263349" y="2439461"/>
                    <a:pt x="1263349" y="2384063"/>
                  </a:cubicBezTo>
                  <a:cubicBezTo>
                    <a:pt x="1263349" y="2328663"/>
                    <a:pt x="1218139" y="2284090"/>
                    <a:pt x="1162740" y="228409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22A4F47-882C-8AE6-FAC9-9C8036140E9B}"/>
                </a:ext>
              </a:extLst>
            </p:cNvPr>
            <p:cNvSpPr/>
            <p:nvPr/>
          </p:nvSpPr>
          <p:spPr>
            <a:xfrm>
              <a:off x="1643075" y="2232511"/>
              <a:ext cx="1060220" cy="4478395"/>
            </a:xfrm>
            <a:custGeom>
              <a:avLst/>
              <a:gdLst>
                <a:gd name="connsiteX0" fmla="*/ 959611 w 1060220"/>
                <a:gd name="connsiteY0" fmla="*/ 4277813 h 4478395"/>
                <a:gd name="connsiteX1" fmla="*/ 918221 w 1060220"/>
                <a:gd name="connsiteY1" fmla="*/ 4286728 h 4478395"/>
                <a:gd name="connsiteX2" fmla="*/ 918221 w 1060220"/>
                <a:gd name="connsiteY2" fmla="*/ 4286728 h 4478395"/>
                <a:gd name="connsiteX3" fmla="*/ 308833 w 1060220"/>
                <a:gd name="connsiteY3" fmla="*/ 3677340 h 4478395"/>
                <a:gd name="connsiteX4" fmla="*/ 352770 w 1060220"/>
                <a:gd name="connsiteY4" fmla="*/ 3560811 h 4478395"/>
                <a:gd name="connsiteX5" fmla="*/ 195488 w 1060220"/>
                <a:gd name="connsiteY5" fmla="*/ 3385063 h 4478395"/>
                <a:gd name="connsiteX6" fmla="*/ 195488 w 1060220"/>
                <a:gd name="connsiteY6" fmla="*/ 2057400 h 4478395"/>
                <a:gd name="connsiteX7" fmla="*/ 389703 w 1060220"/>
                <a:gd name="connsiteY7" fmla="*/ 1863186 h 4478395"/>
                <a:gd name="connsiteX8" fmla="*/ 389703 w 1060220"/>
                <a:gd name="connsiteY8" fmla="*/ 199309 h 4478395"/>
                <a:gd name="connsiteX9" fmla="*/ 473119 w 1060220"/>
                <a:gd name="connsiteY9" fmla="*/ 100609 h 4478395"/>
                <a:gd name="connsiteX10" fmla="*/ 372510 w 1060220"/>
                <a:gd name="connsiteY10" fmla="*/ 0 h 4478395"/>
                <a:gd name="connsiteX11" fmla="*/ 272537 w 1060220"/>
                <a:gd name="connsiteY11" fmla="*/ 100609 h 4478395"/>
                <a:gd name="connsiteX12" fmla="*/ 351496 w 1060220"/>
                <a:gd name="connsiteY12" fmla="*/ 198672 h 4478395"/>
                <a:gd name="connsiteX13" fmla="*/ 351496 w 1060220"/>
                <a:gd name="connsiteY13" fmla="*/ 1847903 h 4478395"/>
                <a:gd name="connsiteX14" fmla="*/ 157282 w 1060220"/>
                <a:gd name="connsiteY14" fmla="*/ 2042117 h 4478395"/>
                <a:gd name="connsiteX15" fmla="*/ 157282 w 1060220"/>
                <a:gd name="connsiteY15" fmla="*/ 3385700 h 4478395"/>
                <a:gd name="connsiteX16" fmla="*/ 0 w 1060220"/>
                <a:gd name="connsiteY16" fmla="*/ 3561448 h 4478395"/>
                <a:gd name="connsiteX17" fmla="*/ 176385 w 1060220"/>
                <a:gd name="connsiteY17" fmla="*/ 3737833 h 4478395"/>
                <a:gd name="connsiteX18" fmla="*/ 280815 w 1060220"/>
                <a:gd name="connsiteY18" fmla="*/ 3703448 h 4478395"/>
                <a:gd name="connsiteX19" fmla="*/ 886382 w 1060220"/>
                <a:gd name="connsiteY19" fmla="*/ 4309015 h 4478395"/>
                <a:gd name="connsiteX20" fmla="*/ 886382 w 1060220"/>
                <a:gd name="connsiteY20" fmla="*/ 4309015 h 4478395"/>
                <a:gd name="connsiteX21" fmla="*/ 859001 w 1060220"/>
                <a:gd name="connsiteY21" fmla="*/ 4377786 h 4478395"/>
                <a:gd name="connsiteX22" fmla="*/ 959611 w 1060220"/>
                <a:gd name="connsiteY22" fmla="*/ 4478395 h 4478395"/>
                <a:gd name="connsiteX23" fmla="*/ 1060220 w 1060220"/>
                <a:gd name="connsiteY23" fmla="*/ 4377786 h 4478395"/>
                <a:gd name="connsiteX24" fmla="*/ 959611 w 1060220"/>
                <a:gd name="connsiteY24" fmla="*/ 4277813 h 4478395"/>
                <a:gd name="connsiteX25" fmla="*/ 254071 w 1060220"/>
                <a:gd name="connsiteY25" fmla="*/ 3676067 h 4478395"/>
                <a:gd name="connsiteX26" fmla="*/ 177022 w 1060220"/>
                <a:gd name="connsiteY26" fmla="*/ 3699627 h 4478395"/>
                <a:gd name="connsiteX27" fmla="*/ 38843 w 1060220"/>
                <a:gd name="connsiteY27" fmla="*/ 3561448 h 4478395"/>
                <a:gd name="connsiteX28" fmla="*/ 157919 w 1060220"/>
                <a:gd name="connsiteY28" fmla="*/ 3424543 h 4478395"/>
                <a:gd name="connsiteX29" fmla="*/ 177022 w 1060220"/>
                <a:gd name="connsiteY29" fmla="*/ 3423269 h 4478395"/>
                <a:gd name="connsiteX30" fmla="*/ 196125 w 1060220"/>
                <a:gd name="connsiteY30" fmla="*/ 3424543 h 4478395"/>
                <a:gd name="connsiteX31" fmla="*/ 315201 w 1060220"/>
                <a:gd name="connsiteY31" fmla="*/ 3561448 h 4478395"/>
                <a:gd name="connsiteX32" fmla="*/ 282725 w 1060220"/>
                <a:gd name="connsiteY32" fmla="*/ 3650596 h 4478395"/>
                <a:gd name="connsiteX33" fmla="*/ 254071 w 1060220"/>
                <a:gd name="connsiteY33" fmla="*/ 3676067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0" h="4478395">
                  <a:moveTo>
                    <a:pt x="959611" y="4277813"/>
                  </a:moveTo>
                  <a:cubicBezTo>
                    <a:pt x="944965" y="4277813"/>
                    <a:pt x="930956" y="4280997"/>
                    <a:pt x="918221" y="4286728"/>
                  </a:cubicBezTo>
                  <a:lnTo>
                    <a:pt x="918221" y="4286728"/>
                  </a:lnTo>
                  <a:lnTo>
                    <a:pt x="308833" y="3677340"/>
                  </a:lnTo>
                  <a:cubicBezTo>
                    <a:pt x="336214" y="3646138"/>
                    <a:pt x="352770" y="3605385"/>
                    <a:pt x="352770" y="3560811"/>
                  </a:cubicBezTo>
                  <a:cubicBezTo>
                    <a:pt x="352770" y="3469753"/>
                    <a:pt x="283999" y="3394615"/>
                    <a:pt x="195488" y="3385063"/>
                  </a:cubicBezTo>
                  <a:lnTo>
                    <a:pt x="195488" y="2057400"/>
                  </a:lnTo>
                  <a:lnTo>
                    <a:pt x="389703" y="1863186"/>
                  </a:lnTo>
                  <a:lnTo>
                    <a:pt x="389703" y="199309"/>
                  </a:lnTo>
                  <a:cubicBezTo>
                    <a:pt x="436823" y="191031"/>
                    <a:pt x="473119" y="150277"/>
                    <a:pt x="473119" y="100609"/>
                  </a:cubicBezTo>
                  <a:cubicBezTo>
                    <a:pt x="473119" y="45211"/>
                    <a:pt x="427909" y="0"/>
                    <a:pt x="372510" y="0"/>
                  </a:cubicBezTo>
                  <a:cubicBezTo>
                    <a:pt x="317111" y="0"/>
                    <a:pt x="272537" y="44574"/>
                    <a:pt x="272537" y="100609"/>
                  </a:cubicBezTo>
                  <a:cubicBezTo>
                    <a:pt x="272537" y="149004"/>
                    <a:pt x="306286" y="189120"/>
                    <a:pt x="351496" y="198672"/>
                  </a:cubicBezTo>
                  <a:lnTo>
                    <a:pt x="351496" y="1847903"/>
                  </a:lnTo>
                  <a:lnTo>
                    <a:pt x="157282" y="2042117"/>
                  </a:lnTo>
                  <a:lnTo>
                    <a:pt x="157282" y="3385700"/>
                  </a:lnTo>
                  <a:cubicBezTo>
                    <a:pt x="68771" y="3395251"/>
                    <a:pt x="0" y="3470390"/>
                    <a:pt x="0" y="3561448"/>
                  </a:cubicBezTo>
                  <a:cubicBezTo>
                    <a:pt x="0" y="3658874"/>
                    <a:pt x="78959" y="3737833"/>
                    <a:pt x="176385" y="3737833"/>
                  </a:cubicBezTo>
                  <a:cubicBezTo>
                    <a:pt x="215228" y="3737833"/>
                    <a:pt x="251524" y="3725097"/>
                    <a:pt x="280815" y="3703448"/>
                  </a:cubicBezTo>
                  <a:lnTo>
                    <a:pt x="886382" y="4309015"/>
                  </a:lnTo>
                  <a:lnTo>
                    <a:pt x="886382" y="4309015"/>
                  </a:lnTo>
                  <a:cubicBezTo>
                    <a:pt x="869189" y="4326844"/>
                    <a:pt x="859001" y="4351042"/>
                    <a:pt x="859001" y="4377786"/>
                  </a:cubicBezTo>
                  <a:cubicBezTo>
                    <a:pt x="859001" y="4433185"/>
                    <a:pt x="904212" y="4478395"/>
                    <a:pt x="959611" y="4478395"/>
                  </a:cubicBezTo>
                  <a:cubicBezTo>
                    <a:pt x="1015010" y="4478395"/>
                    <a:pt x="1060220" y="4433185"/>
                    <a:pt x="1060220" y="4377786"/>
                  </a:cubicBezTo>
                  <a:cubicBezTo>
                    <a:pt x="1060220" y="4322387"/>
                    <a:pt x="1015010" y="4277813"/>
                    <a:pt x="959611" y="4277813"/>
                  </a:cubicBezTo>
                  <a:close/>
                  <a:moveTo>
                    <a:pt x="254071" y="3676067"/>
                  </a:moveTo>
                  <a:cubicBezTo>
                    <a:pt x="231784" y="3690712"/>
                    <a:pt x="205676" y="3699627"/>
                    <a:pt x="177022" y="3699627"/>
                  </a:cubicBezTo>
                  <a:cubicBezTo>
                    <a:pt x="100609" y="3699627"/>
                    <a:pt x="38843" y="3637860"/>
                    <a:pt x="38843" y="3561448"/>
                  </a:cubicBezTo>
                  <a:cubicBezTo>
                    <a:pt x="38843" y="3491404"/>
                    <a:pt x="91058" y="3434094"/>
                    <a:pt x="157919" y="3424543"/>
                  </a:cubicBezTo>
                  <a:cubicBezTo>
                    <a:pt x="164286" y="3423906"/>
                    <a:pt x="170654" y="3423269"/>
                    <a:pt x="177022" y="3423269"/>
                  </a:cubicBezTo>
                  <a:cubicBezTo>
                    <a:pt x="183389" y="3423269"/>
                    <a:pt x="189757" y="3423906"/>
                    <a:pt x="196125" y="3424543"/>
                  </a:cubicBezTo>
                  <a:cubicBezTo>
                    <a:pt x="263622" y="3434094"/>
                    <a:pt x="315201" y="3491404"/>
                    <a:pt x="315201" y="3561448"/>
                  </a:cubicBezTo>
                  <a:cubicBezTo>
                    <a:pt x="315201" y="3595197"/>
                    <a:pt x="303102" y="3626398"/>
                    <a:pt x="282725" y="3650596"/>
                  </a:cubicBezTo>
                  <a:cubicBezTo>
                    <a:pt x="273811" y="3660147"/>
                    <a:pt x="264259" y="3668425"/>
                    <a:pt x="254071" y="367606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076C673-9AC5-9323-2CA7-A07927BF3C7E}"/>
                </a:ext>
              </a:extLst>
            </p:cNvPr>
            <p:cNvSpPr/>
            <p:nvPr/>
          </p:nvSpPr>
          <p:spPr>
            <a:xfrm>
              <a:off x="2620515" y="2527972"/>
              <a:ext cx="1683623" cy="4103974"/>
            </a:xfrm>
            <a:custGeom>
              <a:avLst/>
              <a:gdLst>
                <a:gd name="connsiteX0" fmla="*/ 1583644 w 1683623"/>
                <a:gd name="connsiteY0" fmla="*/ 3903393 h 4103974"/>
                <a:gd name="connsiteX1" fmla="*/ 1540344 w 1683623"/>
                <a:gd name="connsiteY1" fmla="*/ 3913581 h 4103974"/>
                <a:gd name="connsiteX2" fmla="*/ 773674 w 1683623"/>
                <a:gd name="connsiteY2" fmla="*/ 3146912 h 4103974"/>
                <a:gd name="connsiteX3" fmla="*/ 773674 w 1683623"/>
                <a:gd name="connsiteY3" fmla="*/ 1752388 h 4103974"/>
                <a:gd name="connsiteX4" fmla="*/ 127991 w 1683623"/>
                <a:gd name="connsiteY4" fmla="*/ 1106704 h 4103974"/>
                <a:gd name="connsiteX5" fmla="*/ 127991 w 1683623"/>
                <a:gd name="connsiteY5" fmla="*/ 197398 h 4103974"/>
                <a:gd name="connsiteX6" fmla="*/ 201219 w 1683623"/>
                <a:gd name="connsiteY6" fmla="*/ 100609 h 4103974"/>
                <a:gd name="connsiteX7" fmla="*/ 100609 w 1683623"/>
                <a:gd name="connsiteY7" fmla="*/ 0 h 4103974"/>
                <a:gd name="connsiteX8" fmla="*/ 0 w 1683623"/>
                <a:gd name="connsiteY8" fmla="*/ 100609 h 4103974"/>
                <a:gd name="connsiteX9" fmla="*/ 89148 w 1683623"/>
                <a:gd name="connsiteY9" fmla="*/ 200582 h 4103974"/>
                <a:gd name="connsiteX10" fmla="*/ 89148 w 1683623"/>
                <a:gd name="connsiteY10" fmla="*/ 1122623 h 4103974"/>
                <a:gd name="connsiteX11" fmla="*/ 734831 w 1683623"/>
                <a:gd name="connsiteY11" fmla="*/ 1768307 h 4103974"/>
                <a:gd name="connsiteX12" fmla="*/ 734831 w 1683623"/>
                <a:gd name="connsiteY12" fmla="*/ 3162831 h 4103974"/>
                <a:gd name="connsiteX13" fmla="*/ 1508505 w 1683623"/>
                <a:gd name="connsiteY13" fmla="*/ 3936505 h 4103974"/>
                <a:gd name="connsiteX14" fmla="*/ 1482398 w 1683623"/>
                <a:gd name="connsiteY14" fmla="*/ 4003365 h 4103974"/>
                <a:gd name="connsiteX15" fmla="*/ 1583007 w 1683623"/>
                <a:gd name="connsiteY15" fmla="*/ 4103975 h 4103974"/>
                <a:gd name="connsiteX16" fmla="*/ 1683617 w 1683623"/>
                <a:gd name="connsiteY16" fmla="*/ 4003365 h 4103974"/>
                <a:gd name="connsiteX17" fmla="*/ 1583644 w 1683623"/>
                <a:gd name="connsiteY17" fmla="*/ 3903393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3623" h="4103974">
                  <a:moveTo>
                    <a:pt x="1583644" y="3903393"/>
                  </a:moveTo>
                  <a:cubicBezTo>
                    <a:pt x="1567725" y="3903393"/>
                    <a:pt x="1553079" y="3907213"/>
                    <a:pt x="1540344" y="3913581"/>
                  </a:cubicBezTo>
                  <a:lnTo>
                    <a:pt x="773674" y="3146912"/>
                  </a:lnTo>
                  <a:lnTo>
                    <a:pt x="773674" y="1752388"/>
                  </a:lnTo>
                  <a:lnTo>
                    <a:pt x="127991" y="1106704"/>
                  </a:lnTo>
                  <a:lnTo>
                    <a:pt x="127991" y="197398"/>
                  </a:lnTo>
                  <a:cubicBezTo>
                    <a:pt x="170017" y="185300"/>
                    <a:pt x="201219" y="147094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2188"/>
                    <a:pt x="38843" y="194851"/>
                    <a:pt x="89148" y="200582"/>
                  </a:cubicBezTo>
                  <a:lnTo>
                    <a:pt x="89148" y="1122623"/>
                  </a:lnTo>
                  <a:lnTo>
                    <a:pt x="734831" y="1768307"/>
                  </a:lnTo>
                  <a:lnTo>
                    <a:pt x="734831" y="3162831"/>
                  </a:lnTo>
                  <a:lnTo>
                    <a:pt x="1508505" y="3936505"/>
                  </a:lnTo>
                  <a:cubicBezTo>
                    <a:pt x="1492586" y="3954334"/>
                    <a:pt x="1482398" y="3977895"/>
                    <a:pt x="1482398" y="4003365"/>
                  </a:cubicBezTo>
                  <a:cubicBezTo>
                    <a:pt x="1482398" y="4058765"/>
                    <a:pt x="1527608" y="4103975"/>
                    <a:pt x="1583007" y="4103975"/>
                  </a:cubicBezTo>
                  <a:cubicBezTo>
                    <a:pt x="1638406" y="4103975"/>
                    <a:pt x="1683617" y="4058765"/>
                    <a:pt x="1683617" y="4003365"/>
                  </a:cubicBezTo>
                  <a:cubicBezTo>
                    <a:pt x="1684254" y="3948603"/>
                    <a:pt x="1639043" y="3903393"/>
                    <a:pt x="1583644" y="390339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2D9A286-1436-CA70-6780-CFE4066EBD53}"/>
                </a:ext>
              </a:extLst>
            </p:cNvPr>
            <p:cNvSpPr/>
            <p:nvPr/>
          </p:nvSpPr>
          <p:spPr>
            <a:xfrm>
              <a:off x="2458776" y="2017283"/>
              <a:ext cx="790875" cy="3766487"/>
            </a:xfrm>
            <a:custGeom>
              <a:avLst/>
              <a:gdLst>
                <a:gd name="connsiteX0" fmla="*/ 709997 w 790875"/>
                <a:gd name="connsiteY0" fmla="*/ 3567179 h 3766487"/>
                <a:gd name="connsiteX1" fmla="*/ 709997 w 790875"/>
                <a:gd name="connsiteY1" fmla="*/ 2376421 h 3766487"/>
                <a:gd name="connsiteX2" fmla="*/ 38843 w 790875"/>
                <a:gd name="connsiteY2" fmla="*/ 1705267 h 3766487"/>
                <a:gd name="connsiteX3" fmla="*/ 38843 w 790875"/>
                <a:gd name="connsiteY3" fmla="*/ 512599 h 3766487"/>
                <a:gd name="connsiteX4" fmla="*/ 367416 w 790875"/>
                <a:gd name="connsiteY4" fmla="*/ 184026 h 3766487"/>
                <a:gd name="connsiteX5" fmla="*/ 423451 w 790875"/>
                <a:gd name="connsiteY5" fmla="*/ 201219 h 3766487"/>
                <a:gd name="connsiteX6" fmla="*/ 524061 w 790875"/>
                <a:gd name="connsiteY6" fmla="*/ 100610 h 3766487"/>
                <a:gd name="connsiteX7" fmla="*/ 423451 w 790875"/>
                <a:gd name="connsiteY7" fmla="*/ 0 h 3766487"/>
                <a:gd name="connsiteX8" fmla="*/ 322842 w 790875"/>
                <a:gd name="connsiteY8" fmla="*/ 100610 h 3766487"/>
                <a:gd name="connsiteX9" fmla="*/ 340035 w 790875"/>
                <a:gd name="connsiteY9" fmla="*/ 156645 h 3766487"/>
                <a:gd name="connsiteX10" fmla="*/ 0 w 790875"/>
                <a:gd name="connsiteY10" fmla="*/ 496680 h 3766487"/>
                <a:gd name="connsiteX11" fmla="*/ 0 w 790875"/>
                <a:gd name="connsiteY11" fmla="*/ 1721186 h 3766487"/>
                <a:gd name="connsiteX12" fmla="*/ 671154 w 790875"/>
                <a:gd name="connsiteY12" fmla="*/ 2392341 h 3766487"/>
                <a:gd name="connsiteX13" fmla="*/ 671154 w 790875"/>
                <a:gd name="connsiteY13" fmla="*/ 3567179 h 3766487"/>
                <a:gd name="connsiteX14" fmla="*/ 589648 w 790875"/>
                <a:gd name="connsiteY14" fmla="*/ 3665878 h 3766487"/>
                <a:gd name="connsiteX15" fmla="*/ 690257 w 790875"/>
                <a:gd name="connsiteY15" fmla="*/ 3766488 h 3766487"/>
                <a:gd name="connsiteX16" fmla="*/ 790867 w 790875"/>
                <a:gd name="connsiteY16" fmla="*/ 3665878 h 3766487"/>
                <a:gd name="connsiteX17" fmla="*/ 709997 w 790875"/>
                <a:gd name="connsiteY17" fmla="*/ 3567179 h 376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75" h="3766487">
                  <a:moveTo>
                    <a:pt x="709997" y="3567179"/>
                  </a:moveTo>
                  <a:lnTo>
                    <a:pt x="709997" y="2376421"/>
                  </a:lnTo>
                  <a:lnTo>
                    <a:pt x="38843" y="1705267"/>
                  </a:lnTo>
                  <a:lnTo>
                    <a:pt x="38843" y="512599"/>
                  </a:lnTo>
                  <a:lnTo>
                    <a:pt x="367416" y="184026"/>
                  </a:lnTo>
                  <a:cubicBezTo>
                    <a:pt x="383335" y="194851"/>
                    <a:pt x="403075" y="201219"/>
                    <a:pt x="423451" y="201219"/>
                  </a:cubicBezTo>
                  <a:cubicBezTo>
                    <a:pt x="478850" y="201219"/>
                    <a:pt x="524061" y="156008"/>
                    <a:pt x="524061" y="100610"/>
                  </a:cubicBezTo>
                  <a:cubicBezTo>
                    <a:pt x="524061" y="45211"/>
                    <a:pt x="478850" y="0"/>
                    <a:pt x="423451" y="0"/>
                  </a:cubicBezTo>
                  <a:cubicBezTo>
                    <a:pt x="368052" y="0"/>
                    <a:pt x="322842" y="45211"/>
                    <a:pt x="322842" y="100610"/>
                  </a:cubicBezTo>
                  <a:cubicBezTo>
                    <a:pt x="322842" y="121623"/>
                    <a:pt x="329209" y="140726"/>
                    <a:pt x="340035" y="156645"/>
                  </a:cubicBezTo>
                  <a:lnTo>
                    <a:pt x="0" y="496680"/>
                  </a:lnTo>
                  <a:lnTo>
                    <a:pt x="0" y="1721186"/>
                  </a:lnTo>
                  <a:lnTo>
                    <a:pt x="671154" y="2392341"/>
                  </a:lnTo>
                  <a:lnTo>
                    <a:pt x="671154" y="3567179"/>
                  </a:lnTo>
                  <a:cubicBezTo>
                    <a:pt x="624670" y="3576094"/>
                    <a:pt x="589648" y="3616847"/>
                    <a:pt x="589648" y="3665878"/>
                  </a:cubicBezTo>
                  <a:cubicBezTo>
                    <a:pt x="589648" y="3721277"/>
                    <a:pt x="634859" y="3766488"/>
                    <a:pt x="690257" y="3766488"/>
                  </a:cubicBezTo>
                  <a:cubicBezTo>
                    <a:pt x="745656" y="3766488"/>
                    <a:pt x="790867" y="3721277"/>
                    <a:pt x="790867" y="3665878"/>
                  </a:cubicBezTo>
                  <a:cubicBezTo>
                    <a:pt x="791504" y="3616847"/>
                    <a:pt x="756481" y="3576094"/>
                    <a:pt x="709997" y="356717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8A827F4-6500-0359-D7CF-96E260E7DA2F}"/>
                </a:ext>
              </a:extLst>
            </p:cNvPr>
            <p:cNvSpPr/>
            <p:nvPr/>
          </p:nvSpPr>
          <p:spPr>
            <a:xfrm>
              <a:off x="3184055" y="2233148"/>
              <a:ext cx="1515509" cy="3560811"/>
            </a:xfrm>
            <a:custGeom>
              <a:avLst/>
              <a:gdLst>
                <a:gd name="connsiteX0" fmla="*/ 1414900 w 1515509"/>
                <a:gd name="connsiteY0" fmla="*/ 3359592 h 3560811"/>
                <a:gd name="connsiteX1" fmla="*/ 1358865 w 1515509"/>
                <a:gd name="connsiteY1" fmla="*/ 3376785 h 3560811"/>
                <a:gd name="connsiteX2" fmla="*/ 562904 w 1515509"/>
                <a:gd name="connsiteY2" fmla="*/ 2580824 h 3560811"/>
                <a:gd name="connsiteX3" fmla="*/ 562904 w 1515509"/>
                <a:gd name="connsiteY3" fmla="*/ 1945965 h 3560811"/>
                <a:gd name="connsiteX4" fmla="*/ 833530 w 1515509"/>
                <a:gd name="connsiteY4" fmla="*/ 1675339 h 3560811"/>
                <a:gd name="connsiteX5" fmla="*/ 833530 w 1515509"/>
                <a:gd name="connsiteY5" fmla="*/ 974893 h 3560811"/>
                <a:gd name="connsiteX6" fmla="*/ 980624 w 1515509"/>
                <a:gd name="connsiteY6" fmla="*/ 801055 h 3560811"/>
                <a:gd name="connsiteX7" fmla="*/ 804239 w 1515509"/>
                <a:gd name="connsiteY7" fmla="*/ 624670 h 3560811"/>
                <a:gd name="connsiteX8" fmla="*/ 692168 w 1515509"/>
                <a:gd name="connsiteY8" fmla="*/ 664787 h 3560811"/>
                <a:gd name="connsiteX9" fmla="*/ 184026 w 1515509"/>
                <a:gd name="connsiteY9" fmla="*/ 156645 h 3560811"/>
                <a:gd name="connsiteX10" fmla="*/ 201219 w 1515509"/>
                <a:gd name="connsiteY10" fmla="*/ 100609 h 3560811"/>
                <a:gd name="connsiteX11" fmla="*/ 100609 w 1515509"/>
                <a:gd name="connsiteY11" fmla="*/ 0 h 3560811"/>
                <a:gd name="connsiteX12" fmla="*/ 0 w 1515509"/>
                <a:gd name="connsiteY12" fmla="*/ 100609 h 3560811"/>
                <a:gd name="connsiteX13" fmla="*/ 100609 w 1515509"/>
                <a:gd name="connsiteY13" fmla="*/ 201219 h 3560811"/>
                <a:gd name="connsiteX14" fmla="*/ 156645 w 1515509"/>
                <a:gd name="connsiteY14" fmla="*/ 184026 h 3560811"/>
                <a:gd name="connsiteX15" fmla="*/ 156645 w 1515509"/>
                <a:gd name="connsiteY15" fmla="*/ 184026 h 3560811"/>
                <a:gd name="connsiteX16" fmla="*/ 664787 w 1515509"/>
                <a:gd name="connsiteY16" fmla="*/ 692168 h 3560811"/>
                <a:gd name="connsiteX17" fmla="*/ 627217 w 1515509"/>
                <a:gd name="connsiteY17" fmla="*/ 801055 h 3560811"/>
                <a:gd name="connsiteX18" fmla="*/ 795324 w 1515509"/>
                <a:gd name="connsiteY18" fmla="*/ 977440 h 3560811"/>
                <a:gd name="connsiteX19" fmla="*/ 795324 w 1515509"/>
                <a:gd name="connsiteY19" fmla="*/ 1660056 h 3560811"/>
                <a:gd name="connsiteX20" fmla="*/ 524697 w 1515509"/>
                <a:gd name="connsiteY20" fmla="*/ 1930683 h 3560811"/>
                <a:gd name="connsiteX21" fmla="*/ 524697 w 1515509"/>
                <a:gd name="connsiteY21" fmla="*/ 2597380 h 3560811"/>
                <a:gd name="connsiteX22" fmla="*/ 1331483 w 1515509"/>
                <a:gd name="connsiteY22" fmla="*/ 3404166 h 3560811"/>
                <a:gd name="connsiteX23" fmla="*/ 1314291 w 1515509"/>
                <a:gd name="connsiteY23" fmla="*/ 3460202 h 3560811"/>
                <a:gd name="connsiteX24" fmla="*/ 1414900 w 1515509"/>
                <a:gd name="connsiteY24" fmla="*/ 3560811 h 3560811"/>
                <a:gd name="connsiteX25" fmla="*/ 1515510 w 1515509"/>
                <a:gd name="connsiteY25" fmla="*/ 3460202 h 3560811"/>
                <a:gd name="connsiteX26" fmla="*/ 1414900 w 1515509"/>
                <a:gd name="connsiteY26" fmla="*/ 3359592 h 3560811"/>
                <a:gd name="connsiteX27" fmla="*/ 665423 w 1515509"/>
                <a:gd name="connsiteY27" fmla="*/ 800418 h 3560811"/>
                <a:gd name="connsiteX28" fmla="*/ 692168 w 1515509"/>
                <a:gd name="connsiteY28" fmla="*/ 718912 h 3560811"/>
                <a:gd name="connsiteX29" fmla="*/ 718912 w 1515509"/>
                <a:gd name="connsiteY29" fmla="*/ 691531 h 3560811"/>
                <a:gd name="connsiteX30" fmla="*/ 803602 w 1515509"/>
                <a:gd name="connsiteY30" fmla="*/ 662240 h 3560811"/>
                <a:gd name="connsiteX31" fmla="*/ 941781 w 1515509"/>
                <a:gd name="connsiteY31" fmla="*/ 800418 h 3560811"/>
                <a:gd name="connsiteX32" fmla="*/ 832894 w 1515509"/>
                <a:gd name="connsiteY32" fmla="*/ 935413 h 3560811"/>
                <a:gd name="connsiteX33" fmla="*/ 803602 w 1515509"/>
                <a:gd name="connsiteY33" fmla="*/ 938597 h 3560811"/>
                <a:gd name="connsiteX34" fmla="*/ 794687 w 1515509"/>
                <a:gd name="connsiteY34" fmla="*/ 938597 h 3560811"/>
                <a:gd name="connsiteX35" fmla="*/ 665423 w 1515509"/>
                <a:gd name="connsiteY35" fmla="*/ 800418 h 356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5509" h="3560811">
                  <a:moveTo>
                    <a:pt x="1414900" y="3359592"/>
                  </a:moveTo>
                  <a:cubicBezTo>
                    <a:pt x="1393887" y="3359592"/>
                    <a:pt x="1374784" y="3365960"/>
                    <a:pt x="1358865" y="3376785"/>
                  </a:cubicBezTo>
                  <a:lnTo>
                    <a:pt x="562904" y="2580824"/>
                  </a:lnTo>
                  <a:lnTo>
                    <a:pt x="562904" y="1945965"/>
                  </a:lnTo>
                  <a:lnTo>
                    <a:pt x="833530" y="1675339"/>
                  </a:lnTo>
                  <a:lnTo>
                    <a:pt x="833530" y="974893"/>
                  </a:lnTo>
                  <a:cubicBezTo>
                    <a:pt x="916947" y="960884"/>
                    <a:pt x="980624" y="888293"/>
                    <a:pt x="980624" y="801055"/>
                  </a:cubicBezTo>
                  <a:cubicBezTo>
                    <a:pt x="980624" y="703630"/>
                    <a:pt x="901665" y="624670"/>
                    <a:pt x="804239" y="624670"/>
                  </a:cubicBezTo>
                  <a:cubicBezTo>
                    <a:pt x="761575" y="624670"/>
                    <a:pt x="722733" y="639953"/>
                    <a:pt x="692168" y="664787"/>
                  </a:cubicBez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0" y="156008"/>
                    <a:pt x="45210" y="201219"/>
                    <a:pt x="100609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156645" y="184026"/>
                  </a:lnTo>
                  <a:lnTo>
                    <a:pt x="664787" y="692168"/>
                  </a:lnTo>
                  <a:cubicBezTo>
                    <a:pt x="641226" y="722096"/>
                    <a:pt x="627217" y="760302"/>
                    <a:pt x="627217" y="801055"/>
                  </a:cubicBezTo>
                  <a:cubicBezTo>
                    <a:pt x="627217" y="895297"/>
                    <a:pt x="701719" y="972983"/>
                    <a:pt x="795324" y="977440"/>
                  </a:cubicBezTo>
                  <a:lnTo>
                    <a:pt x="795324" y="1660056"/>
                  </a:lnTo>
                  <a:lnTo>
                    <a:pt x="524697" y="1930683"/>
                  </a:lnTo>
                  <a:lnTo>
                    <a:pt x="524697" y="2597380"/>
                  </a:lnTo>
                  <a:lnTo>
                    <a:pt x="1331483" y="3404166"/>
                  </a:lnTo>
                  <a:cubicBezTo>
                    <a:pt x="1320659" y="3420085"/>
                    <a:pt x="1314291" y="3439825"/>
                    <a:pt x="1314291" y="3460202"/>
                  </a:cubicBezTo>
                  <a:cubicBezTo>
                    <a:pt x="1314291" y="3515601"/>
                    <a:pt x="1359501" y="3560811"/>
                    <a:pt x="1414900" y="3560811"/>
                  </a:cubicBezTo>
                  <a:cubicBezTo>
                    <a:pt x="1470299" y="3560811"/>
                    <a:pt x="1515510" y="3515601"/>
                    <a:pt x="1515510" y="3460202"/>
                  </a:cubicBezTo>
                  <a:cubicBezTo>
                    <a:pt x="1514873" y="3404166"/>
                    <a:pt x="1470299" y="3359592"/>
                    <a:pt x="1414900" y="3359592"/>
                  </a:cubicBezTo>
                  <a:close/>
                  <a:moveTo>
                    <a:pt x="665423" y="800418"/>
                  </a:moveTo>
                  <a:cubicBezTo>
                    <a:pt x="665423" y="769853"/>
                    <a:pt x="675612" y="741836"/>
                    <a:pt x="692168" y="718912"/>
                  </a:cubicBezTo>
                  <a:cubicBezTo>
                    <a:pt x="699809" y="708724"/>
                    <a:pt x="708724" y="699172"/>
                    <a:pt x="718912" y="691531"/>
                  </a:cubicBezTo>
                  <a:cubicBezTo>
                    <a:pt x="742472" y="673065"/>
                    <a:pt x="771764" y="662240"/>
                    <a:pt x="803602" y="662240"/>
                  </a:cubicBezTo>
                  <a:cubicBezTo>
                    <a:pt x="880014" y="662240"/>
                    <a:pt x="941781" y="724006"/>
                    <a:pt x="941781" y="800418"/>
                  </a:cubicBezTo>
                  <a:cubicBezTo>
                    <a:pt x="941781" y="866642"/>
                    <a:pt x="895297" y="922041"/>
                    <a:pt x="832894" y="935413"/>
                  </a:cubicBezTo>
                  <a:cubicBezTo>
                    <a:pt x="823342" y="937324"/>
                    <a:pt x="813154" y="938597"/>
                    <a:pt x="803602" y="938597"/>
                  </a:cubicBezTo>
                  <a:cubicBezTo>
                    <a:pt x="800418" y="938597"/>
                    <a:pt x="797871" y="938597"/>
                    <a:pt x="794687" y="938597"/>
                  </a:cubicBezTo>
                  <a:cubicBezTo>
                    <a:pt x="722733" y="933503"/>
                    <a:pt x="665423" y="873647"/>
                    <a:pt x="665423" y="80041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DE77F6C-0654-9060-405A-F89D1961E742}"/>
                </a:ext>
              </a:extLst>
            </p:cNvPr>
            <p:cNvSpPr/>
            <p:nvPr/>
          </p:nvSpPr>
          <p:spPr>
            <a:xfrm>
              <a:off x="3841201" y="4612116"/>
              <a:ext cx="2992176" cy="2189211"/>
            </a:xfrm>
            <a:custGeom>
              <a:avLst/>
              <a:gdLst>
                <a:gd name="connsiteX0" fmla="*/ 2890931 w 2992176"/>
                <a:gd name="connsiteY0" fmla="*/ 1987992 h 2189211"/>
                <a:gd name="connsiteX1" fmla="*/ 2834895 w 2992176"/>
                <a:gd name="connsiteY1" fmla="*/ 2005185 h 2189211"/>
                <a:gd name="connsiteX2" fmla="*/ 2054853 w 2992176"/>
                <a:gd name="connsiteY2" fmla="*/ 1224506 h 2189211"/>
                <a:gd name="connsiteX3" fmla="*/ 2049122 w 2992176"/>
                <a:gd name="connsiteY3" fmla="*/ 1218776 h 2189211"/>
                <a:gd name="connsiteX4" fmla="*/ 1903302 w 2992176"/>
                <a:gd name="connsiteY4" fmla="*/ 1218776 h 2189211"/>
                <a:gd name="connsiteX5" fmla="*/ 1727554 w 2992176"/>
                <a:gd name="connsiteY5" fmla="*/ 1059584 h 2189211"/>
                <a:gd name="connsiteX6" fmla="*/ 1551806 w 2992176"/>
                <a:gd name="connsiteY6" fmla="*/ 1218776 h 2189211"/>
                <a:gd name="connsiteX7" fmla="*/ 1245520 w 2992176"/>
                <a:gd name="connsiteY7" fmla="*/ 1218776 h 2189211"/>
                <a:gd name="connsiteX8" fmla="*/ 184026 w 2992176"/>
                <a:gd name="connsiteY8" fmla="*/ 156645 h 2189211"/>
                <a:gd name="connsiteX9" fmla="*/ 201219 w 2992176"/>
                <a:gd name="connsiteY9" fmla="*/ 100609 h 2189211"/>
                <a:gd name="connsiteX10" fmla="*/ 100610 w 2992176"/>
                <a:gd name="connsiteY10" fmla="*/ 0 h 2189211"/>
                <a:gd name="connsiteX11" fmla="*/ 0 w 2992176"/>
                <a:gd name="connsiteY11" fmla="*/ 100609 h 2189211"/>
                <a:gd name="connsiteX12" fmla="*/ 100610 w 2992176"/>
                <a:gd name="connsiteY12" fmla="*/ 201219 h 2189211"/>
                <a:gd name="connsiteX13" fmla="*/ 156645 w 2992176"/>
                <a:gd name="connsiteY13" fmla="*/ 184026 h 2189211"/>
                <a:gd name="connsiteX14" fmla="*/ 1224507 w 2992176"/>
                <a:gd name="connsiteY14" fmla="*/ 1251888 h 2189211"/>
                <a:gd name="connsiteX15" fmla="*/ 1230237 w 2992176"/>
                <a:gd name="connsiteY15" fmla="*/ 1257618 h 2189211"/>
                <a:gd name="connsiteX16" fmla="*/ 1553079 w 2992176"/>
                <a:gd name="connsiteY16" fmla="*/ 1257618 h 2189211"/>
                <a:gd name="connsiteX17" fmla="*/ 1728191 w 2992176"/>
                <a:gd name="connsiteY17" fmla="*/ 1413627 h 2189211"/>
                <a:gd name="connsiteX18" fmla="*/ 1903302 w 2992176"/>
                <a:gd name="connsiteY18" fmla="*/ 1257618 h 2189211"/>
                <a:gd name="connsiteX19" fmla="*/ 2033203 w 2992176"/>
                <a:gd name="connsiteY19" fmla="*/ 1257618 h 2189211"/>
                <a:gd name="connsiteX20" fmla="*/ 2808151 w 2992176"/>
                <a:gd name="connsiteY20" fmla="*/ 2032566 h 2189211"/>
                <a:gd name="connsiteX21" fmla="*/ 2808151 w 2992176"/>
                <a:gd name="connsiteY21" fmla="*/ 2032566 h 2189211"/>
                <a:gd name="connsiteX22" fmla="*/ 2790958 w 2992176"/>
                <a:gd name="connsiteY22" fmla="*/ 2088602 h 2189211"/>
                <a:gd name="connsiteX23" fmla="*/ 2891567 w 2992176"/>
                <a:gd name="connsiteY23" fmla="*/ 2189211 h 2189211"/>
                <a:gd name="connsiteX24" fmla="*/ 2992177 w 2992176"/>
                <a:gd name="connsiteY24" fmla="*/ 2088602 h 2189211"/>
                <a:gd name="connsiteX25" fmla="*/ 2890931 w 2992176"/>
                <a:gd name="connsiteY25" fmla="*/ 1987992 h 2189211"/>
                <a:gd name="connsiteX26" fmla="*/ 1727554 w 2992176"/>
                <a:gd name="connsiteY26" fmla="*/ 1374784 h 2189211"/>
                <a:gd name="connsiteX27" fmla="*/ 1590649 w 2992176"/>
                <a:gd name="connsiteY27" fmla="*/ 1256982 h 2189211"/>
                <a:gd name="connsiteX28" fmla="*/ 1589375 w 2992176"/>
                <a:gd name="connsiteY28" fmla="*/ 1236605 h 2189211"/>
                <a:gd name="connsiteX29" fmla="*/ 1590649 w 2992176"/>
                <a:gd name="connsiteY29" fmla="*/ 1218776 h 2189211"/>
                <a:gd name="connsiteX30" fmla="*/ 1727554 w 2992176"/>
                <a:gd name="connsiteY30" fmla="*/ 1098426 h 2189211"/>
                <a:gd name="connsiteX31" fmla="*/ 1864459 w 2992176"/>
                <a:gd name="connsiteY31" fmla="*/ 1218776 h 2189211"/>
                <a:gd name="connsiteX32" fmla="*/ 1865733 w 2992176"/>
                <a:gd name="connsiteY32" fmla="*/ 1236605 h 2189211"/>
                <a:gd name="connsiteX33" fmla="*/ 1864459 w 2992176"/>
                <a:gd name="connsiteY33" fmla="*/ 1256982 h 2189211"/>
                <a:gd name="connsiteX34" fmla="*/ 1727554 w 2992176"/>
                <a:gd name="connsiteY34" fmla="*/ 1374784 h 2189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9211">
                  <a:moveTo>
                    <a:pt x="2890931" y="1987992"/>
                  </a:moveTo>
                  <a:cubicBezTo>
                    <a:pt x="2869917" y="1987992"/>
                    <a:pt x="2850814" y="1994360"/>
                    <a:pt x="2834895" y="2005185"/>
                  </a:cubicBezTo>
                  <a:lnTo>
                    <a:pt x="2054853" y="1224506"/>
                  </a:lnTo>
                  <a:lnTo>
                    <a:pt x="2049122" y="1218776"/>
                  </a:lnTo>
                  <a:lnTo>
                    <a:pt x="1903302" y="1218776"/>
                  </a:lnTo>
                  <a:cubicBezTo>
                    <a:pt x="1894387" y="1129628"/>
                    <a:pt x="1819248" y="1059584"/>
                    <a:pt x="1727554" y="1059584"/>
                  </a:cubicBezTo>
                  <a:cubicBezTo>
                    <a:pt x="1636496" y="1059584"/>
                    <a:pt x="1560720" y="1129628"/>
                    <a:pt x="1551806" y="1218776"/>
                  </a:cubicBezTo>
                  <a:lnTo>
                    <a:pt x="1245520" y="1218776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1224507" y="1251888"/>
                  </a:lnTo>
                  <a:lnTo>
                    <a:pt x="1230237" y="1257618"/>
                  </a:lnTo>
                  <a:lnTo>
                    <a:pt x="1553079" y="1257618"/>
                  </a:lnTo>
                  <a:cubicBezTo>
                    <a:pt x="1563268" y="1345492"/>
                    <a:pt x="1637769" y="1413627"/>
                    <a:pt x="1728191" y="1413627"/>
                  </a:cubicBezTo>
                  <a:cubicBezTo>
                    <a:pt x="1818612" y="1413627"/>
                    <a:pt x="1893114" y="1345492"/>
                    <a:pt x="1903302" y="1257618"/>
                  </a:cubicBezTo>
                  <a:lnTo>
                    <a:pt x="2033203" y="1257618"/>
                  </a:lnTo>
                  <a:lnTo>
                    <a:pt x="2808151" y="2032566"/>
                  </a:lnTo>
                  <a:lnTo>
                    <a:pt x="2808151" y="2032566"/>
                  </a:lnTo>
                  <a:cubicBezTo>
                    <a:pt x="2797326" y="2048485"/>
                    <a:pt x="2790958" y="2068225"/>
                    <a:pt x="2790958" y="2088602"/>
                  </a:cubicBezTo>
                  <a:cubicBezTo>
                    <a:pt x="2790958" y="2144001"/>
                    <a:pt x="2836168" y="2189211"/>
                    <a:pt x="2891567" y="2189211"/>
                  </a:cubicBezTo>
                  <a:cubicBezTo>
                    <a:pt x="2946966" y="2189211"/>
                    <a:pt x="2992177" y="2144001"/>
                    <a:pt x="2992177" y="2088602"/>
                  </a:cubicBezTo>
                  <a:cubicBezTo>
                    <a:pt x="2991540" y="2032566"/>
                    <a:pt x="2946966" y="1987992"/>
                    <a:pt x="2890931" y="1987992"/>
                  </a:cubicBezTo>
                  <a:close/>
                  <a:moveTo>
                    <a:pt x="1727554" y="1374784"/>
                  </a:moveTo>
                  <a:cubicBezTo>
                    <a:pt x="1658146" y="1374784"/>
                    <a:pt x="1600837" y="1323843"/>
                    <a:pt x="1590649" y="1256982"/>
                  </a:cubicBezTo>
                  <a:cubicBezTo>
                    <a:pt x="1589375" y="1249977"/>
                    <a:pt x="1589375" y="1243609"/>
                    <a:pt x="1589375" y="1236605"/>
                  </a:cubicBezTo>
                  <a:cubicBezTo>
                    <a:pt x="1589375" y="1230874"/>
                    <a:pt x="1590012" y="1224506"/>
                    <a:pt x="1590649" y="1218776"/>
                  </a:cubicBezTo>
                  <a:cubicBezTo>
                    <a:pt x="1599563" y="1150641"/>
                    <a:pt x="1657509" y="1098426"/>
                    <a:pt x="1727554" y="1098426"/>
                  </a:cubicBezTo>
                  <a:cubicBezTo>
                    <a:pt x="1797599" y="1098426"/>
                    <a:pt x="1856181" y="1151278"/>
                    <a:pt x="1864459" y="1218776"/>
                  </a:cubicBezTo>
                  <a:cubicBezTo>
                    <a:pt x="1865096" y="1224506"/>
                    <a:pt x="1865733" y="1230237"/>
                    <a:pt x="1865733" y="1236605"/>
                  </a:cubicBezTo>
                  <a:cubicBezTo>
                    <a:pt x="1865733" y="1243609"/>
                    <a:pt x="1865096" y="1250614"/>
                    <a:pt x="1864459" y="1256982"/>
                  </a:cubicBezTo>
                  <a:cubicBezTo>
                    <a:pt x="1854271" y="1323843"/>
                    <a:pt x="1796962" y="1374784"/>
                    <a:pt x="1727554" y="137478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ED0B81C-994F-4361-3E71-83FB4F2ED116}"/>
                </a:ext>
              </a:extLst>
            </p:cNvPr>
            <p:cNvSpPr/>
            <p:nvPr/>
          </p:nvSpPr>
          <p:spPr>
            <a:xfrm>
              <a:off x="4204159" y="3987446"/>
              <a:ext cx="2075229" cy="1111161"/>
            </a:xfrm>
            <a:custGeom>
              <a:avLst/>
              <a:gdLst>
                <a:gd name="connsiteX0" fmla="*/ 100610 w 2075229"/>
                <a:gd name="connsiteY0" fmla="*/ 0 h 1111161"/>
                <a:gd name="connsiteX1" fmla="*/ 0 w 2075229"/>
                <a:gd name="connsiteY1" fmla="*/ 100609 h 1111161"/>
                <a:gd name="connsiteX2" fmla="*/ 100610 w 2075229"/>
                <a:gd name="connsiteY2" fmla="*/ 201219 h 1111161"/>
                <a:gd name="connsiteX3" fmla="*/ 153461 w 2075229"/>
                <a:gd name="connsiteY3" fmla="*/ 185937 h 1111161"/>
                <a:gd name="connsiteX4" fmla="*/ 992086 w 2075229"/>
                <a:gd name="connsiteY4" fmla="*/ 1023924 h 1111161"/>
                <a:gd name="connsiteX5" fmla="*/ 997817 w 2075229"/>
                <a:gd name="connsiteY5" fmla="*/ 1029655 h 1111161"/>
                <a:gd name="connsiteX6" fmla="*/ 1875921 w 2075229"/>
                <a:gd name="connsiteY6" fmla="*/ 1029655 h 1111161"/>
                <a:gd name="connsiteX7" fmla="*/ 1974620 w 2075229"/>
                <a:gd name="connsiteY7" fmla="*/ 1111162 h 1111161"/>
                <a:gd name="connsiteX8" fmla="*/ 2075230 w 2075229"/>
                <a:gd name="connsiteY8" fmla="*/ 1010552 h 1111161"/>
                <a:gd name="connsiteX9" fmla="*/ 1974620 w 2075229"/>
                <a:gd name="connsiteY9" fmla="*/ 909942 h 1111161"/>
                <a:gd name="connsiteX10" fmla="*/ 1875921 w 2075229"/>
                <a:gd name="connsiteY10" fmla="*/ 991449 h 1111161"/>
                <a:gd name="connsiteX11" fmla="*/ 1013099 w 2075229"/>
                <a:gd name="connsiteY11" fmla="*/ 991449 h 1111161"/>
                <a:gd name="connsiteX12" fmla="*/ 181479 w 2075229"/>
                <a:gd name="connsiteY12" fmla="*/ 159829 h 1111161"/>
                <a:gd name="connsiteX13" fmla="*/ 200582 w 2075229"/>
                <a:gd name="connsiteY13" fmla="*/ 100609 h 1111161"/>
                <a:gd name="connsiteX14" fmla="*/ 100610 w 2075229"/>
                <a:gd name="connsiteY14" fmla="*/ 0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5229" h="1111161">
                  <a:moveTo>
                    <a:pt x="100610" y="0"/>
                  </a:move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0349" y="201219"/>
                    <a:pt x="138179" y="195488"/>
                    <a:pt x="153461" y="185937"/>
                  </a:cubicBezTo>
                  <a:lnTo>
                    <a:pt x="992086" y="1023924"/>
                  </a:lnTo>
                  <a:lnTo>
                    <a:pt x="997817" y="1029655"/>
                  </a:lnTo>
                  <a:lnTo>
                    <a:pt x="1875921" y="1029655"/>
                  </a:lnTo>
                  <a:cubicBezTo>
                    <a:pt x="1884836" y="1076139"/>
                    <a:pt x="1925589" y="1111162"/>
                    <a:pt x="1974620" y="1111162"/>
                  </a:cubicBezTo>
                  <a:cubicBezTo>
                    <a:pt x="2030019" y="1111162"/>
                    <a:pt x="2075230" y="1065951"/>
                    <a:pt x="2075230" y="1010552"/>
                  </a:cubicBezTo>
                  <a:cubicBezTo>
                    <a:pt x="2075230" y="955153"/>
                    <a:pt x="2030019" y="909942"/>
                    <a:pt x="1974620" y="909942"/>
                  </a:cubicBezTo>
                  <a:cubicBezTo>
                    <a:pt x="1925589" y="909942"/>
                    <a:pt x="1884836" y="944965"/>
                    <a:pt x="1875921" y="991449"/>
                  </a:cubicBezTo>
                  <a:lnTo>
                    <a:pt x="1013099" y="991449"/>
                  </a:lnTo>
                  <a:lnTo>
                    <a:pt x="181479" y="159829"/>
                  </a:lnTo>
                  <a:cubicBezTo>
                    <a:pt x="193578" y="143273"/>
                    <a:pt x="200582" y="122896"/>
                    <a:pt x="200582" y="100609"/>
                  </a:cubicBezTo>
                  <a:cubicBezTo>
                    <a:pt x="201219" y="45210"/>
                    <a:pt x="156008" y="0"/>
                    <a:pt x="100610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2CCD8EA-4211-4A29-BD30-7ADD2D7B2B42}"/>
                </a:ext>
              </a:extLst>
            </p:cNvPr>
            <p:cNvSpPr/>
            <p:nvPr/>
          </p:nvSpPr>
          <p:spPr>
            <a:xfrm>
              <a:off x="4714847" y="3133539"/>
              <a:ext cx="2117893" cy="1407258"/>
            </a:xfrm>
            <a:custGeom>
              <a:avLst/>
              <a:gdLst>
                <a:gd name="connsiteX0" fmla="*/ 2017284 w 2117893"/>
                <a:gd name="connsiteY0" fmla="*/ 1206040 h 1407258"/>
                <a:gd name="connsiteX1" fmla="*/ 1956791 w 2117893"/>
                <a:gd name="connsiteY1" fmla="*/ 1226417 h 1407258"/>
                <a:gd name="connsiteX2" fmla="*/ 1956791 w 2117893"/>
                <a:gd name="connsiteY2" fmla="*/ 1226417 h 1407258"/>
                <a:gd name="connsiteX3" fmla="*/ 1522515 w 2117893"/>
                <a:gd name="connsiteY3" fmla="*/ 792140 h 1407258"/>
                <a:gd name="connsiteX4" fmla="*/ 1562631 w 2117893"/>
                <a:gd name="connsiteY4" fmla="*/ 680706 h 1407258"/>
                <a:gd name="connsiteX5" fmla="*/ 1386246 w 2117893"/>
                <a:gd name="connsiteY5" fmla="*/ 504321 h 1407258"/>
                <a:gd name="connsiteX6" fmla="*/ 1274811 w 2117893"/>
                <a:gd name="connsiteY6" fmla="*/ 544437 h 1407258"/>
                <a:gd name="connsiteX7" fmla="*/ 817611 w 2117893"/>
                <a:gd name="connsiteY7" fmla="*/ 87237 h 1407258"/>
                <a:gd name="connsiteX8" fmla="*/ 811880 w 2117893"/>
                <a:gd name="connsiteY8" fmla="*/ 81506 h 1407258"/>
                <a:gd name="connsiteX9" fmla="*/ 199309 w 2117893"/>
                <a:gd name="connsiteY9" fmla="*/ 81506 h 1407258"/>
                <a:gd name="connsiteX10" fmla="*/ 100610 w 2117893"/>
                <a:gd name="connsiteY10" fmla="*/ 0 h 1407258"/>
                <a:gd name="connsiteX11" fmla="*/ 0 w 2117893"/>
                <a:gd name="connsiteY11" fmla="*/ 100609 h 1407258"/>
                <a:gd name="connsiteX12" fmla="*/ 100610 w 2117893"/>
                <a:gd name="connsiteY12" fmla="*/ 201219 h 1407258"/>
                <a:gd name="connsiteX13" fmla="*/ 199309 w 2117893"/>
                <a:gd name="connsiteY13" fmla="*/ 119712 h 1407258"/>
                <a:gd name="connsiteX14" fmla="*/ 795961 w 2117893"/>
                <a:gd name="connsiteY14" fmla="*/ 119712 h 1407258"/>
                <a:gd name="connsiteX15" fmla="*/ 1247430 w 2117893"/>
                <a:gd name="connsiteY15" fmla="*/ 571182 h 1407258"/>
                <a:gd name="connsiteX16" fmla="*/ 1209224 w 2117893"/>
                <a:gd name="connsiteY16" fmla="*/ 680706 h 1407258"/>
                <a:gd name="connsiteX17" fmla="*/ 1385609 w 2117893"/>
                <a:gd name="connsiteY17" fmla="*/ 857091 h 1407258"/>
                <a:gd name="connsiteX18" fmla="*/ 1495134 w 2117893"/>
                <a:gd name="connsiteY18" fmla="*/ 818885 h 1407258"/>
                <a:gd name="connsiteX19" fmla="*/ 1931320 w 2117893"/>
                <a:gd name="connsiteY19" fmla="*/ 1255071 h 1407258"/>
                <a:gd name="connsiteX20" fmla="*/ 1916674 w 2117893"/>
                <a:gd name="connsiteY20" fmla="*/ 1306650 h 1407258"/>
                <a:gd name="connsiteX21" fmla="*/ 2017284 w 2117893"/>
                <a:gd name="connsiteY21" fmla="*/ 1407259 h 1407258"/>
                <a:gd name="connsiteX22" fmla="*/ 2117893 w 2117893"/>
                <a:gd name="connsiteY22" fmla="*/ 1306650 h 1407258"/>
                <a:gd name="connsiteX23" fmla="*/ 2017284 w 2117893"/>
                <a:gd name="connsiteY23" fmla="*/ 1206040 h 1407258"/>
                <a:gd name="connsiteX24" fmla="*/ 1467752 w 2117893"/>
                <a:gd name="connsiteY24" fmla="*/ 791504 h 1407258"/>
                <a:gd name="connsiteX25" fmla="*/ 1385609 w 2117893"/>
                <a:gd name="connsiteY25" fmla="*/ 818885 h 1407258"/>
                <a:gd name="connsiteX26" fmla="*/ 1247430 w 2117893"/>
                <a:gd name="connsiteY26" fmla="*/ 680706 h 1407258"/>
                <a:gd name="connsiteX27" fmla="*/ 1274811 w 2117893"/>
                <a:gd name="connsiteY27" fmla="*/ 598563 h 1407258"/>
                <a:gd name="connsiteX28" fmla="*/ 1301556 w 2117893"/>
                <a:gd name="connsiteY28" fmla="*/ 571182 h 1407258"/>
                <a:gd name="connsiteX29" fmla="*/ 1386246 w 2117893"/>
                <a:gd name="connsiteY29" fmla="*/ 542527 h 1407258"/>
                <a:gd name="connsiteX30" fmla="*/ 1524425 w 2117893"/>
                <a:gd name="connsiteY30" fmla="*/ 680706 h 1407258"/>
                <a:gd name="connsiteX31" fmla="*/ 1495770 w 2117893"/>
                <a:gd name="connsiteY31" fmla="*/ 765396 h 1407258"/>
                <a:gd name="connsiteX32" fmla="*/ 1467752 w 2117893"/>
                <a:gd name="connsiteY32" fmla="*/ 791504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2017284" y="1206040"/>
                  </a:moveTo>
                  <a:cubicBezTo>
                    <a:pt x="1994360" y="1206040"/>
                    <a:pt x="1973983" y="1213681"/>
                    <a:pt x="1956791" y="1226417"/>
                  </a:cubicBezTo>
                  <a:lnTo>
                    <a:pt x="1956791" y="1226417"/>
                  </a:lnTo>
                  <a:lnTo>
                    <a:pt x="1522515" y="792140"/>
                  </a:lnTo>
                  <a:cubicBezTo>
                    <a:pt x="1547348" y="761576"/>
                    <a:pt x="1562631" y="722732"/>
                    <a:pt x="1562631" y="680706"/>
                  </a:cubicBezTo>
                  <a:cubicBezTo>
                    <a:pt x="1562631" y="583280"/>
                    <a:pt x="1483671" y="504321"/>
                    <a:pt x="1386246" y="504321"/>
                  </a:cubicBezTo>
                  <a:cubicBezTo>
                    <a:pt x="1344219" y="504321"/>
                    <a:pt x="1304740" y="518966"/>
                    <a:pt x="1274811" y="544437"/>
                  </a:cubicBezTo>
                  <a:lnTo>
                    <a:pt x="817611" y="87237"/>
                  </a:lnTo>
                  <a:lnTo>
                    <a:pt x="81188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795961" y="119712"/>
                  </a:lnTo>
                  <a:lnTo>
                    <a:pt x="1247430" y="571182"/>
                  </a:lnTo>
                  <a:cubicBezTo>
                    <a:pt x="1223233" y="601110"/>
                    <a:pt x="1209224" y="639316"/>
                    <a:pt x="1209224" y="680706"/>
                  </a:cubicBezTo>
                  <a:cubicBezTo>
                    <a:pt x="1209224" y="778131"/>
                    <a:pt x="1288184" y="857091"/>
                    <a:pt x="1385609" y="857091"/>
                  </a:cubicBezTo>
                  <a:cubicBezTo>
                    <a:pt x="1426999" y="857091"/>
                    <a:pt x="1465205" y="843082"/>
                    <a:pt x="1495134" y="818885"/>
                  </a:cubicBezTo>
                  <a:lnTo>
                    <a:pt x="1931320" y="1255071"/>
                  </a:lnTo>
                  <a:cubicBezTo>
                    <a:pt x="1922405" y="1270354"/>
                    <a:pt x="1916674" y="1287546"/>
                    <a:pt x="1916674" y="1306650"/>
                  </a:cubicBezTo>
                  <a:cubicBezTo>
                    <a:pt x="1916674" y="1362048"/>
                    <a:pt x="1961885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3320" y="1206040"/>
                    <a:pt x="2017284" y="1206040"/>
                  </a:cubicBezTo>
                  <a:close/>
                  <a:moveTo>
                    <a:pt x="1467752" y="791504"/>
                  </a:moveTo>
                  <a:cubicBezTo>
                    <a:pt x="1444829" y="808696"/>
                    <a:pt x="1416174" y="818885"/>
                    <a:pt x="1385609" y="818885"/>
                  </a:cubicBezTo>
                  <a:cubicBezTo>
                    <a:pt x="1309197" y="818885"/>
                    <a:pt x="1247430" y="757118"/>
                    <a:pt x="1247430" y="680706"/>
                  </a:cubicBezTo>
                  <a:cubicBezTo>
                    <a:pt x="1247430" y="650141"/>
                    <a:pt x="1257618" y="621486"/>
                    <a:pt x="1274811" y="598563"/>
                  </a:cubicBezTo>
                  <a:cubicBezTo>
                    <a:pt x="1282453" y="588374"/>
                    <a:pt x="1291368" y="578823"/>
                    <a:pt x="1301556" y="571182"/>
                  </a:cubicBezTo>
                  <a:cubicBezTo>
                    <a:pt x="1325116" y="553352"/>
                    <a:pt x="1354407" y="542527"/>
                    <a:pt x="1386246" y="542527"/>
                  </a:cubicBezTo>
                  <a:cubicBezTo>
                    <a:pt x="1462658" y="542527"/>
                    <a:pt x="1524425" y="604294"/>
                    <a:pt x="1524425" y="680706"/>
                  </a:cubicBezTo>
                  <a:cubicBezTo>
                    <a:pt x="1524425" y="712544"/>
                    <a:pt x="1513600" y="741835"/>
                    <a:pt x="1495770" y="765396"/>
                  </a:cubicBezTo>
                  <a:cubicBezTo>
                    <a:pt x="1487492" y="774311"/>
                    <a:pt x="1478577" y="783862"/>
                    <a:pt x="1467752" y="79150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54A1BE4C-5CC6-0835-FDC1-36622102DE39}"/>
                </a:ext>
              </a:extLst>
            </p:cNvPr>
            <p:cNvSpPr/>
            <p:nvPr/>
          </p:nvSpPr>
          <p:spPr>
            <a:xfrm>
              <a:off x="4714211" y="2865459"/>
              <a:ext cx="2584644" cy="1247430"/>
            </a:xfrm>
            <a:custGeom>
              <a:avLst/>
              <a:gdLst>
                <a:gd name="connsiteX0" fmla="*/ 2484035 w 2584644"/>
                <a:gd name="connsiteY0" fmla="*/ 1046848 h 1247430"/>
                <a:gd name="connsiteX1" fmla="*/ 2433731 w 2584644"/>
                <a:gd name="connsiteY1" fmla="*/ 1060220 h 1247430"/>
                <a:gd name="connsiteX2" fmla="*/ 1854908 w 2584644"/>
                <a:gd name="connsiteY2" fmla="*/ 481397 h 1247430"/>
                <a:gd name="connsiteX3" fmla="*/ 1369690 w 2584644"/>
                <a:gd name="connsiteY3" fmla="*/ 481397 h 1247430"/>
                <a:gd name="connsiteX4" fmla="*/ 969799 w 2584644"/>
                <a:gd name="connsiteY4" fmla="*/ 81506 h 1247430"/>
                <a:gd name="connsiteX5" fmla="*/ 199309 w 2584644"/>
                <a:gd name="connsiteY5" fmla="*/ 81506 h 1247430"/>
                <a:gd name="connsiteX6" fmla="*/ 100609 w 2584644"/>
                <a:gd name="connsiteY6" fmla="*/ 0 h 1247430"/>
                <a:gd name="connsiteX7" fmla="*/ 0 w 2584644"/>
                <a:gd name="connsiteY7" fmla="*/ 100609 h 1247430"/>
                <a:gd name="connsiteX8" fmla="*/ 100609 w 2584644"/>
                <a:gd name="connsiteY8" fmla="*/ 201219 h 1247430"/>
                <a:gd name="connsiteX9" fmla="*/ 199309 w 2584644"/>
                <a:gd name="connsiteY9" fmla="*/ 119712 h 1247430"/>
                <a:gd name="connsiteX10" fmla="*/ 953880 w 2584644"/>
                <a:gd name="connsiteY10" fmla="*/ 119712 h 1247430"/>
                <a:gd name="connsiteX11" fmla="*/ 1353770 w 2584644"/>
                <a:gd name="connsiteY11" fmla="*/ 519603 h 1247430"/>
                <a:gd name="connsiteX12" fmla="*/ 1838988 w 2584644"/>
                <a:gd name="connsiteY12" fmla="*/ 519603 h 1247430"/>
                <a:gd name="connsiteX13" fmla="*/ 2404439 w 2584644"/>
                <a:gd name="connsiteY13" fmla="*/ 1085054 h 1247430"/>
                <a:gd name="connsiteX14" fmla="*/ 2383426 w 2584644"/>
                <a:gd name="connsiteY14" fmla="*/ 1146821 h 1247430"/>
                <a:gd name="connsiteX15" fmla="*/ 2484035 w 2584644"/>
                <a:gd name="connsiteY15" fmla="*/ 1247430 h 1247430"/>
                <a:gd name="connsiteX16" fmla="*/ 2584645 w 2584644"/>
                <a:gd name="connsiteY16" fmla="*/ 1146821 h 1247430"/>
                <a:gd name="connsiteX17" fmla="*/ 2484035 w 2584644"/>
                <a:gd name="connsiteY17" fmla="*/ 1046848 h 1247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4644" h="1247430">
                  <a:moveTo>
                    <a:pt x="2484035" y="1046848"/>
                  </a:moveTo>
                  <a:cubicBezTo>
                    <a:pt x="2465569" y="1046848"/>
                    <a:pt x="2448376" y="1051942"/>
                    <a:pt x="2433731" y="1060220"/>
                  </a:cubicBezTo>
                  <a:lnTo>
                    <a:pt x="1854908" y="481397"/>
                  </a:lnTo>
                  <a:lnTo>
                    <a:pt x="1369690" y="481397"/>
                  </a:lnTo>
                  <a:lnTo>
                    <a:pt x="969799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953880" y="119712"/>
                  </a:lnTo>
                  <a:lnTo>
                    <a:pt x="1353770" y="519603"/>
                  </a:lnTo>
                  <a:lnTo>
                    <a:pt x="1838988" y="519603"/>
                  </a:lnTo>
                  <a:lnTo>
                    <a:pt x="2404439" y="1085054"/>
                  </a:lnTo>
                  <a:cubicBezTo>
                    <a:pt x="2391067" y="1102247"/>
                    <a:pt x="2383426" y="1123260"/>
                    <a:pt x="2383426" y="1146821"/>
                  </a:cubicBezTo>
                  <a:cubicBezTo>
                    <a:pt x="2383426" y="1202219"/>
                    <a:pt x="2428637" y="1247430"/>
                    <a:pt x="2484035" y="1247430"/>
                  </a:cubicBezTo>
                  <a:cubicBezTo>
                    <a:pt x="2539434" y="1247430"/>
                    <a:pt x="2584645" y="1202219"/>
                    <a:pt x="2584645" y="1146821"/>
                  </a:cubicBezTo>
                  <a:cubicBezTo>
                    <a:pt x="2584645" y="1091422"/>
                    <a:pt x="2539434" y="1046848"/>
                    <a:pt x="2484035" y="104684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43ECB8B-EB5E-366D-F9D5-07CC1DC4F9CC}"/>
                </a:ext>
              </a:extLst>
            </p:cNvPr>
            <p:cNvSpPr/>
            <p:nvPr/>
          </p:nvSpPr>
          <p:spPr>
            <a:xfrm>
              <a:off x="1431668" y="648230"/>
              <a:ext cx="5929596" cy="2496770"/>
            </a:xfrm>
            <a:custGeom>
              <a:avLst/>
              <a:gdLst>
                <a:gd name="connsiteX0" fmla="*/ 5802874 w 5929596"/>
                <a:gd name="connsiteY0" fmla="*/ 2242700 h 2496770"/>
                <a:gd name="connsiteX1" fmla="*/ 5681252 w 5929596"/>
                <a:gd name="connsiteY1" fmla="*/ 2331847 h 2496770"/>
                <a:gd name="connsiteX2" fmla="*/ 4766851 w 5929596"/>
                <a:gd name="connsiteY2" fmla="*/ 2331847 h 2496770"/>
                <a:gd name="connsiteX3" fmla="*/ 4466933 w 5929596"/>
                <a:gd name="connsiteY3" fmla="*/ 2031929 h 2496770"/>
                <a:gd name="connsiteX4" fmla="*/ 3102338 w 5929596"/>
                <a:gd name="connsiteY4" fmla="*/ 2031929 h 2496770"/>
                <a:gd name="connsiteX5" fmla="*/ 2063768 w 5929596"/>
                <a:gd name="connsiteY5" fmla="*/ 992723 h 2496770"/>
                <a:gd name="connsiteX6" fmla="*/ 2063768 w 5929596"/>
                <a:gd name="connsiteY6" fmla="*/ 325389 h 2496770"/>
                <a:gd name="connsiteX7" fmla="*/ 1738379 w 5929596"/>
                <a:gd name="connsiteY7" fmla="*/ 0 h 2496770"/>
                <a:gd name="connsiteX8" fmla="*/ 0 w 5929596"/>
                <a:gd name="connsiteY8" fmla="*/ 0 h 2496770"/>
                <a:gd name="connsiteX9" fmla="*/ 0 w 5929596"/>
                <a:gd name="connsiteY9" fmla="*/ 76412 h 2496770"/>
                <a:gd name="connsiteX10" fmla="*/ 1705904 w 5929596"/>
                <a:gd name="connsiteY10" fmla="*/ 76412 h 2496770"/>
                <a:gd name="connsiteX11" fmla="*/ 1986719 w 5929596"/>
                <a:gd name="connsiteY11" fmla="*/ 357227 h 2496770"/>
                <a:gd name="connsiteX12" fmla="*/ 1986719 w 5929596"/>
                <a:gd name="connsiteY12" fmla="*/ 1023924 h 2496770"/>
                <a:gd name="connsiteX13" fmla="*/ 3070499 w 5929596"/>
                <a:gd name="connsiteY13" fmla="*/ 2107705 h 2496770"/>
                <a:gd name="connsiteX14" fmla="*/ 4434458 w 5929596"/>
                <a:gd name="connsiteY14" fmla="*/ 2107705 h 2496770"/>
                <a:gd name="connsiteX15" fmla="*/ 4734376 w 5929596"/>
                <a:gd name="connsiteY15" fmla="*/ 2407623 h 2496770"/>
                <a:gd name="connsiteX16" fmla="*/ 5680615 w 5929596"/>
                <a:gd name="connsiteY16" fmla="*/ 2407623 h 2496770"/>
                <a:gd name="connsiteX17" fmla="*/ 5802238 w 5929596"/>
                <a:gd name="connsiteY17" fmla="*/ 2496771 h 2496770"/>
                <a:gd name="connsiteX18" fmla="*/ 5929591 w 5929596"/>
                <a:gd name="connsiteY18" fmla="*/ 2369417 h 2496770"/>
                <a:gd name="connsiteX19" fmla="*/ 5802874 w 5929596"/>
                <a:gd name="connsiteY19" fmla="*/ 2242700 h 249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9596" h="2496770">
                  <a:moveTo>
                    <a:pt x="5802874" y="2242700"/>
                  </a:moveTo>
                  <a:cubicBezTo>
                    <a:pt x="5746202" y="2242700"/>
                    <a:pt x="5697807" y="2280269"/>
                    <a:pt x="5681252" y="2331847"/>
                  </a:cubicBezTo>
                  <a:lnTo>
                    <a:pt x="4766851" y="2331847"/>
                  </a:lnTo>
                  <a:lnTo>
                    <a:pt x="4466933" y="2031929"/>
                  </a:lnTo>
                  <a:lnTo>
                    <a:pt x="3102338" y="2031929"/>
                  </a:lnTo>
                  <a:lnTo>
                    <a:pt x="2063768" y="992723"/>
                  </a:lnTo>
                  <a:lnTo>
                    <a:pt x="2063768" y="325389"/>
                  </a:lnTo>
                  <a:lnTo>
                    <a:pt x="1738379" y="0"/>
                  </a:lnTo>
                  <a:lnTo>
                    <a:pt x="0" y="0"/>
                  </a:lnTo>
                  <a:lnTo>
                    <a:pt x="0" y="76412"/>
                  </a:lnTo>
                  <a:lnTo>
                    <a:pt x="1705904" y="76412"/>
                  </a:lnTo>
                  <a:lnTo>
                    <a:pt x="1986719" y="357227"/>
                  </a:lnTo>
                  <a:lnTo>
                    <a:pt x="1986719" y="1023924"/>
                  </a:lnTo>
                  <a:lnTo>
                    <a:pt x="3070499" y="2107705"/>
                  </a:lnTo>
                  <a:lnTo>
                    <a:pt x="4434458" y="2107705"/>
                  </a:lnTo>
                  <a:lnTo>
                    <a:pt x="4734376" y="2407623"/>
                  </a:lnTo>
                  <a:lnTo>
                    <a:pt x="5680615" y="2407623"/>
                  </a:lnTo>
                  <a:cubicBezTo>
                    <a:pt x="5697171" y="2459201"/>
                    <a:pt x="5744928" y="2496771"/>
                    <a:pt x="5802238" y="2496771"/>
                  </a:cubicBezTo>
                  <a:cubicBezTo>
                    <a:pt x="5872282" y="2496771"/>
                    <a:pt x="5929591" y="2439461"/>
                    <a:pt x="5929591" y="2369417"/>
                  </a:cubicBezTo>
                  <a:cubicBezTo>
                    <a:pt x="5930228" y="2299372"/>
                    <a:pt x="5872919" y="2242700"/>
                    <a:pt x="5802874" y="224270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90B89E3-EE86-E7EC-9656-97AC72B9E41F}"/>
                </a:ext>
              </a:extLst>
            </p:cNvPr>
            <p:cNvSpPr/>
            <p:nvPr/>
          </p:nvSpPr>
          <p:spPr>
            <a:xfrm>
              <a:off x="1431668" y="1055762"/>
              <a:ext cx="1551805" cy="4437004"/>
            </a:xfrm>
            <a:custGeom>
              <a:avLst/>
              <a:gdLst>
                <a:gd name="connsiteX0" fmla="*/ 791504 w 1551805"/>
                <a:gd name="connsiteY0" fmla="*/ 353407 h 4437004"/>
                <a:gd name="connsiteX1" fmla="*/ 967252 w 1551805"/>
                <a:gd name="connsiteY1" fmla="*/ 196125 h 4437004"/>
                <a:gd name="connsiteX2" fmla="*/ 1181206 w 1551805"/>
                <a:gd name="connsiteY2" fmla="*/ 196125 h 4437004"/>
                <a:gd name="connsiteX3" fmla="*/ 1305376 w 1551805"/>
                <a:gd name="connsiteY3" fmla="*/ 320295 h 4437004"/>
                <a:gd name="connsiteX4" fmla="*/ 1305376 w 1551805"/>
                <a:gd name="connsiteY4" fmla="*/ 788957 h 4437004"/>
                <a:gd name="connsiteX5" fmla="*/ 785136 w 1551805"/>
                <a:gd name="connsiteY5" fmla="*/ 1309197 h 4437004"/>
                <a:gd name="connsiteX6" fmla="*/ 785136 w 1551805"/>
                <a:gd name="connsiteY6" fmla="*/ 2840626 h 4437004"/>
                <a:gd name="connsiteX7" fmla="*/ 1432093 w 1551805"/>
                <a:gd name="connsiteY7" fmla="*/ 3487583 h 4437004"/>
                <a:gd name="connsiteX8" fmla="*/ 1432093 w 1551805"/>
                <a:gd name="connsiteY8" fmla="*/ 4237697 h 4437004"/>
                <a:gd name="connsiteX9" fmla="*/ 1350587 w 1551805"/>
                <a:gd name="connsiteY9" fmla="*/ 4336396 h 4437004"/>
                <a:gd name="connsiteX10" fmla="*/ 1451196 w 1551805"/>
                <a:gd name="connsiteY10" fmla="*/ 4437005 h 4437004"/>
                <a:gd name="connsiteX11" fmla="*/ 1551806 w 1551805"/>
                <a:gd name="connsiteY11" fmla="*/ 4336396 h 4437004"/>
                <a:gd name="connsiteX12" fmla="*/ 1470299 w 1551805"/>
                <a:gd name="connsiteY12" fmla="*/ 4237697 h 4437004"/>
                <a:gd name="connsiteX13" fmla="*/ 1470299 w 1551805"/>
                <a:gd name="connsiteY13" fmla="*/ 3471664 h 4437004"/>
                <a:gd name="connsiteX14" fmla="*/ 822705 w 1551805"/>
                <a:gd name="connsiteY14" fmla="*/ 2824707 h 4437004"/>
                <a:gd name="connsiteX15" fmla="*/ 822705 w 1551805"/>
                <a:gd name="connsiteY15" fmla="*/ 1325116 h 4437004"/>
                <a:gd name="connsiteX16" fmla="*/ 1342945 w 1551805"/>
                <a:gd name="connsiteY16" fmla="*/ 804876 h 4437004"/>
                <a:gd name="connsiteX17" fmla="*/ 1342945 w 1551805"/>
                <a:gd name="connsiteY17" fmla="*/ 304376 h 4437004"/>
                <a:gd name="connsiteX18" fmla="*/ 1195852 w 1551805"/>
                <a:gd name="connsiteY18" fmla="*/ 157282 h 4437004"/>
                <a:gd name="connsiteX19" fmla="*/ 965978 w 1551805"/>
                <a:gd name="connsiteY19" fmla="*/ 157282 h 4437004"/>
                <a:gd name="connsiteX20" fmla="*/ 790230 w 1551805"/>
                <a:gd name="connsiteY20" fmla="*/ 0 h 4437004"/>
                <a:gd name="connsiteX21" fmla="*/ 614482 w 1551805"/>
                <a:gd name="connsiteY21" fmla="*/ 157282 h 4437004"/>
                <a:gd name="connsiteX22" fmla="*/ 0 w 1551805"/>
                <a:gd name="connsiteY22" fmla="*/ 157282 h 4437004"/>
                <a:gd name="connsiteX23" fmla="*/ 0 w 1551805"/>
                <a:gd name="connsiteY23" fmla="*/ 195488 h 4437004"/>
                <a:gd name="connsiteX24" fmla="*/ 615755 w 1551805"/>
                <a:gd name="connsiteY24" fmla="*/ 195488 h 4437004"/>
                <a:gd name="connsiteX25" fmla="*/ 791504 w 1551805"/>
                <a:gd name="connsiteY25" fmla="*/ 353407 h 4437004"/>
                <a:gd name="connsiteX26" fmla="*/ 791504 w 1551805"/>
                <a:gd name="connsiteY26" fmla="*/ 38206 h 4437004"/>
                <a:gd name="connsiteX27" fmla="*/ 928409 w 1551805"/>
                <a:gd name="connsiteY27" fmla="*/ 157282 h 4437004"/>
                <a:gd name="connsiteX28" fmla="*/ 929682 w 1551805"/>
                <a:gd name="connsiteY28" fmla="*/ 176385 h 4437004"/>
                <a:gd name="connsiteX29" fmla="*/ 928409 w 1551805"/>
                <a:gd name="connsiteY29" fmla="*/ 195488 h 4437004"/>
                <a:gd name="connsiteX30" fmla="*/ 791504 w 1551805"/>
                <a:gd name="connsiteY30" fmla="*/ 314564 h 4437004"/>
                <a:gd name="connsiteX31" fmla="*/ 654598 w 1551805"/>
                <a:gd name="connsiteY31" fmla="*/ 195488 h 4437004"/>
                <a:gd name="connsiteX32" fmla="*/ 653325 w 1551805"/>
                <a:gd name="connsiteY32" fmla="*/ 176385 h 4437004"/>
                <a:gd name="connsiteX33" fmla="*/ 654598 w 1551805"/>
                <a:gd name="connsiteY33" fmla="*/ 157282 h 4437004"/>
                <a:gd name="connsiteX34" fmla="*/ 791504 w 1551805"/>
                <a:gd name="connsiteY34" fmla="*/ 38206 h 443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1805" h="4437004">
                  <a:moveTo>
                    <a:pt x="791504" y="353407"/>
                  </a:moveTo>
                  <a:cubicBezTo>
                    <a:pt x="882562" y="353407"/>
                    <a:pt x="957700" y="284636"/>
                    <a:pt x="967252" y="196125"/>
                  </a:cubicBezTo>
                  <a:lnTo>
                    <a:pt x="1181206" y="196125"/>
                  </a:lnTo>
                  <a:lnTo>
                    <a:pt x="1305376" y="320295"/>
                  </a:lnTo>
                  <a:lnTo>
                    <a:pt x="1305376" y="788957"/>
                  </a:lnTo>
                  <a:lnTo>
                    <a:pt x="785136" y="1309197"/>
                  </a:lnTo>
                  <a:lnTo>
                    <a:pt x="785136" y="2840626"/>
                  </a:lnTo>
                  <a:lnTo>
                    <a:pt x="1432093" y="3487583"/>
                  </a:lnTo>
                  <a:lnTo>
                    <a:pt x="1432093" y="4237697"/>
                  </a:lnTo>
                  <a:cubicBezTo>
                    <a:pt x="1385609" y="4246611"/>
                    <a:pt x="1350587" y="4287364"/>
                    <a:pt x="1350587" y="4336396"/>
                  </a:cubicBezTo>
                  <a:cubicBezTo>
                    <a:pt x="1350587" y="4391795"/>
                    <a:pt x="1395797" y="4437005"/>
                    <a:pt x="1451196" y="4437005"/>
                  </a:cubicBezTo>
                  <a:cubicBezTo>
                    <a:pt x="1506595" y="4437005"/>
                    <a:pt x="1551806" y="4391795"/>
                    <a:pt x="1551806" y="4336396"/>
                  </a:cubicBezTo>
                  <a:cubicBezTo>
                    <a:pt x="1551806" y="4287364"/>
                    <a:pt x="1516783" y="4246611"/>
                    <a:pt x="1470299" y="4237697"/>
                  </a:cubicBezTo>
                  <a:lnTo>
                    <a:pt x="1470299" y="3471664"/>
                  </a:lnTo>
                  <a:lnTo>
                    <a:pt x="822705" y="2824707"/>
                  </a:lnTo>
                  <a:lnTo>
                    <a:pt x="822705" y="1325116"/>
                  </a:lnTo>
                  <a:lnTo>
                    <a:pt x="1342945" y="804876"/>
                  </a:lnTo>
                  <a:lnTo>
                    <a:pt x="1342945" y="304376"/>
                  </a:lnTo>
                  <a:lnTo>
                    <a:pt x="1195852" y="157282"/>
                  </a:lnTo>
                  <a:lnTo>
                    <a:pt x="965978" y="157282"/>
                  </a:lnTo>
                  <a:cubicBezTo>
                    <a:pt x="956427" y="68771"/>
                    <a:pt x="881288" y="0"/>
                    <a:pt x="790230" y="0"/>
                  </a:cubicBezTo>
                  <a:cubicBezTo>
                    <a:pt x="699172" y="0"/>
                    <a:pt x="624033" y="68771"/>
                    <a:pt x="614482" y="157282"/>
                  </a:cubicBezTo>
                  <a:lnTo>
                    <a:pt x="0" y="157282"/>
                  </a:lnTo>
                  <a:lnTo>
                    <a:pt x="0" y="195488"/>
                  </a:lnTo>
                  <a:lnTo>
                    <a:pt x="615755" y="195488"/>
                  </a:lnTo>
                  <a:cubicBezTo>
                    <a:pt x="625307" y="283999"/>
                    <a:pt x="700446" y="353407"/>
                    <a:pt x="791504" y="353407"/>
                  </a:cubicBezTo>
                  <a:close/>
                  <a:moveTo>
                    <a:pt x="791504" y="38206"/>
                  </a:moveTo>
                  <a:cubicBezTo>
                    <a:pt x="861548" y="38206"/>
                    <a:pt x="918857" y="89784"/>
                    <a:pt x="928409" y="157282"/>
                  </a:cubicBezTo>
                  <a:cubicBezTo>
                    <a:pt x="929046" y="163650"/>
                    <a:pt x="929682" y="170017"/>
                    <a:pt x="929682" y="176385"/>
                  </a:cubicBezTo>
                  <a:cubicBezTo>
                    <a:pt x="929682" y="182753"/>
                    <a:pt x="929046" y="189120"/>
                    <a:pt x="928409" y="195488"/>
                  </a:cubicBezTo>
                  <a:cubicBezTo>
                    <a:pt x="918857" y="262986"/>
                    <a:pt x="861548" y="314564"/>
                    <a:pt x="791504" y="314564"/>
                  </a:cubicBezTo>
                  <a:cubicBezTo>
                    <a:pt x="721459" y="314564"/>
                    <a:pt x="664150" y="262986"/>
                    <a:pt x="654598" y="195488"/>
                  </a:cubicBezTo>
                  <a:cubicBezTo>
                    <a:pt x="653962" y="189120"/>
                    <a:pt x="653325" y="182753"/>
                    <a:pt x="653325" y="176385"/>
                  </a:cubicBezTo>
                  <a:cubicBezTo>
                    <a:pt x="653325" y="170017"/>
                    <a:pt x="653962" y="163650"/>
                    <a:pt x="654598" y="157282"/>
                  </a:cubicBezTo>
                  <a:cubicBezTo>
                    <a:pt x="663513" y="90421"/>
                    <a:pt x="721459" y="38206"/>
                    <a:pt x="791504" y="3820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30020222-10AD-7D6C-4757-87E27113CB42}"/>
                </a:ext>
              </a:extLst>
            </p:cNvPr>
            <p:cNvSpPr/>
            <p:nvPr/>
          </p:nvSpPr>
          <p:spPr>
            <a:xfrm>
              <a:off x="3926528" y="1314290"/>
              <a:ext cx="4097607" cy="744382"/>
            </a:xfrm>
            <a:custGeom>
              <a:avLst/>
              <a:gdLst>
                <a:gd name="connsiteX0" fmla="*/ 3996998 w 4097607"/>
                <a:gd name="connsiteY0" fmla="*/ 269353 h 744382"/>
                <a:gd name="connsiteX1" fmla="*/ 3897662 w 4097607"/>
                <a:gd name="connsiteY1" fmla="*/ 355317 h 744382"/>
                <a:gd name="connsiteX2" fmla="*/ 2601201 w 4097607"/>
                <a:gd name="connsiteY2" fmla="*/ 355317 h 744382"/>
                <a:gd name="connsiteX3" fmla="*/ 2250978 w 4097607"/>
                <a:gd name="connsiteY3" fmla="*/ 705540 h 744382"/>
                <a:gd name="connsiteX4" fmla="*/ 732921 w 4097607"/>
                <a:gd name="connsiteY4" fmla="*/ 705540 h 744382"/>
                <a:gd name="connsiteX5" fmla="*/ 184026 w 4097607"/>
                <a:gd name="connsiteY5" fmla="*/ 156645 h 744382"/>
                <a:gd name="connsiteX6" fmla="*/ 201219 w 4097607"/>
                <a:gd name="connsiteY6" fmla="*/ 100609 h 744382"/>
                <a:gd name="connsiteX7" fmla="*/ 100610 w 4097607"/>
                <a:gd name="connsiteY7" fmla="*/ 0 h 744382"/>
                <a:gd name="connsiteX8" fmla="*/ 0 w 4097607"/>
                <a:gd name="connsiteY8" fmla="*/ 100609 h 744382"/>
                <a:gd name="connsiteX9" fmla="*/ 100610 w 4097607"/>
                <a:gd name="connsiteY9" fmla="*/ 201219 h 744382"/>
                <a:gd name="connsiteX10" fmla="*/ 156645 w 4097607"/>
                <a:gd name="connsiteY10" fmla="*/ 184026 h 744382"/>
                <a:gd name="connsiteX11" fmla="*/ 717002 w 4097607"/>
                <a:gd name="connsiteY11" fmla="*/ 744383 h 744382"/>
                <a:gd name="connsiteX12" fmla="*/ 2266897 w 4097607"/>
                <a:gd name="connsiteY12" fmla="*/ 744383 h 744382"/>
                <a:gd name="connsiteX13" fmla="*/ 2617120 w 4097607"/>
                <a:gd name="connsiteY13" fmla="*/ 394160 h 744382"/>
                <a:gd name="connsiteX14" fmla="*/ 3899572 w 4097607"/>
                <a:gd name="connsiteY14" fmla="*/ 394160 h 744382"/>
                <a:gd name="connsiteX15" fmla="*/ 3996998 w 4097607"/>
                <a:gd name="connsiteY15" fmla="*/ 471209 h 744382"/>
                <a:gd name="connsiteX16" fmla="*/ 4097608 w 4097607"/>
                <a:gd name="connsiteY16" fmla="*/ 370600 h 744382"/>
                <a:gd name="connsiteX17" fmla="*/ 3996998 w 4097607"/>
                <a:gd name="connsiteY17" fmla="*/ 269353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7607" h="744382">
                  <a:moveTo>
                    <a:pt x="3996998" y="269353"/>
                  </a:moveTo>
                  <a:cubicBezTo>
                    <a:pt x="3946693" y="269353"/>
                    <a:pt x="3904667" y="306923"/>
                    <a:pt x="3897662" y="355317"/>
                  </a:cubicBezTo>
                  <a:lnTo>
                    <a:pt x="2601201" y="355317"/>
                  </a:lnTo>
                  <a:lnTo>
                    <a:pt x="2250978" y="705540"/>
                  </a:lnTo>
                  <a:lnTo>
                    <a:pt x="732921" y="70554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717002" y="744383"/>
                  </a:lnTo>
                  <a:lnTo>
                    <a:pt x="2266897" y="744383"/>
                  </a:lnTo>
                  <a:lnTo>
                    <a:pt x="2617120" y="394160"/>
                  </a:lnTo>
                  <a:lnTo>
                    <a:pt x="3899572" y="394160"/>
                  </a:lnTo>
                  <a:cubicBezTo>
                    <a:pt x="3910398" y="438097"/>
                    <a:pt x="3949877" y="471209"/>
                    <a:pt x="3996998" y="471209"/>
                  </a:cubicBezTo>
                  <a:cubicBezTo>
                    <a:pt x="4052397" y="471209"/>
                    <a:pt x="4097608" y="425998"/>
                    <a:pt x="4097608" y="370600"/>
                  </a:cubicBezTo>
                  <a:cubicBezTo>
                    <a:pt x="4097608" y="315201"/>
                    <a:pt x="4052397" y="269353"/>
                    <a:pt x="3996998" y="26935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4911F8D-8A94-289C-5CC8-649A8BA8A30C}"/>
                </a:ext>
              </a:extLst>
            </p:cNvPr>
            <p:cNvSpPr/>
            <p:nvPr/>
          </p:nvSpPr>
          <p:spPr>
            <a:xfrm>
              <a:off x="4653718" y="1316201"/>
              <a:ext cx="4336395" cy="636768"/>
            </a:xfrm>
            <a:custGeom>
              <a:avLst/>
              <a:gdLst>
                <a:gd name="connsiteX0" fmla="*/ 4235786 w 4336395"/>
                <a:gd name="connsiteY0" fmla="*/ 0 h 636768"/>
                <a:gd name="connsiteX1" fmla="*/ 4137087 w 4336395"/>
                <a:gd name="connsiteY1" fmla="*/ 81506 h 636768"/>
                <a:gd name="connsiteX2" fmla="*/ 1780405 w 4336395"/>
                <a:gd name="connsiteY2" fmla="*/ 81506 h 636768"/>
                <a:gd name="connsiteX3" fmla="*/ 1344856 w 4336395"/>
                <a:gd name="connsiteY3" fmla="*/ 517056 h 636768"/>
                <a:gd name="connsiteX4" fmla="*/ 199309 w 4336395"/>
                <a:gd name="connsiteY4" fmla="*/ 517056 h 636768"/>
                <a:gd name="connsiteX5" fmla="*/ 100609 w 4336395"/>
                <a:gd name="connsiteY5" fmla="*/ 435550 h 636768"/>
                <a:gd name="connsiteX6" fmla="*/ 0 w 4336395"/>
                <a:gd name="connsiteY6" fmla="*/ 536159 h 636768"/>
                <a:gd name="connsiteX7" fmla="*/ 100609 w 4336395"/>
                <a:gd name="connsiteY7" fmla="*/ 636769 h 636768"/>
                <a:gd name="connsiteX8" fmla="*/ 199309 w 4336395"/>
                <a:gd name="connsiteY8" fmla="*/ 555262 h 636768"/>
                <a:gd name="connsiteX9" fmla="*/ 1360775 w 4336395"/>
                <a:gd name="connsiteY9" fmla="*/ 555262 h 636768"/>
                <a:gd name="connsiteX10" fmla="*/ 1796325 w 4336395"/>
                <a:gd name="connsiteY10" fmla="*/ 119713 h 636768"/>
                <a:gd name="connsiteX11" fmla="*/ 4137087 w 4336395"/>
                <a:gd name="connsiteY11" fmla="*/ 119713 h 636768"/>
                <a:gd name="connsiteX12" fmla="*/ 4235786 w 4336395"/>
                <a:gd name="connsiteY12" fmla="*/ 201219 h 636768"/>
                <a:gd name="connsiteX13" fmla="*/ 4336396 w 4336395"/>
                <a:gd name="connsiteY13" fmla="*/ 100609 h 636768"/>
                <a:gd name="connsiteX14" fmla="*/ 4235786 w 4336395"/>
                <a:gd name="connsiteY14" fmla="*/ 0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4235786" y="0"/>
                  </a:moveTo>
                  <a:cubicBezTo>
                    <a:pt x="4186755" y="0"/>
                    <a:pt x="4146002" y="35022"/>
                    <a:pt x="4137087" y="81506"/>
                  </a:cubicBezTo>
                  <a:lnTo>
                    <a:pt x="1780405" y="81506"/>
                  </a:lnTo>
                  <a:lnTo>
                    <a:pt x="1344856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09" y="435550"/>
                  </a:cubicBezTo>
                  <a:cubicBezTo>
                    <a:pt x="45210" y="435550"/>
                    <a:pt x="0" y="480761"/>
                    <a:pt x="0" y="536159"/>
                  </a:cubicBezTo>
                  <a:cubicBezTo>
                    <a:pt x="0" y="591558"/>
                    <a:pt x="45210" y="636769"/>
                    <a:pt x="100609" y="636769"/>
                  </a:cubicBezTo>
                  <a:cubicBezTo>
                    <a:pt x="149641" y="636769"/>
                    <a:pt x="190394" y="601747"/>
                    <a:pt x="199309" y="555262"/>
                  </a:cubicBezTo>
                  <a:lnTo>
                    <a:pt x="1360775" y="555262"/>
                  </a:lnTo>
                  <a:lnTo>
                    <a:pt x="1796325" y="119713"/>
                  </a:lnTo>
                  <a:lnTo>
                    <a:pt x="4137087" y="119713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4574"/>
                    <a:pt x="4291185" y="0"/>
                    <a:pt x="423578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CB5598F-737F-8FAF-A053-E2F0FA765B1A}"/>
                </a:ext>
              </a:extLst>
            </p:cNvPr>
            <p:cNvSpPr/>
            <p:nvPr/>
          </p:nvSpPr>
          <p:spPr>
            <a:xfrm>
              <a:off x="3515812" y="42663"/>
              <a:ext cx="5899025" cy="1436550"/>
            </a:xfrm>
            <a:custGeom>
              <a:avLst/>
              <a:gdLst>
                <a:gd name="connsiteX0" fmla="*/ 5798417 w 5899025"/>
                <a:gd name="connsiteY0" fmla="*/ 988902 h 1436550"/>
                <a:gd name="connsiteX1" fmla="*/ 5699718 w 5899025"/>
                <a:gd name="connsiteY1" fmla="*/ 1069135 h 1436550"/>
                <a:gd name="connsiteX2" fmla="*/ 4800600 w 5899025"/>
                <a:gd name="connsiteY2" fmla="*/ 1069135 h 1436550"/>
                <a:gd name="connsiteX3" fmla="*/ 4624852 w 5899025"/>
                <a:gd name="connsiteY3" fmla="*/ 911853 h 1436550"/>
                <a:gd name="connsiteX4" fmla="*/ 4449104 w 5899025"/>
                <a:gd name="connsiteY4" fmla="*/ 1069135 h 1436550"/>
                <a:gd name="connsiteX5" fmla="*/ 2766124 w 5899025"/>
                <a:gd name="connsiteY5" fmla="*/ 1069135 h 1436550"/>
                <a:gd name="connsiteX6" fmla="*/ 2436914 w 5899025"/>
                <a:gd name="connsiteY6" fmla="*/ 1398344 h 1436550"/>
                <a:gd name="connsiteX7" fmla="*/ 1176112 w 5899025"/>
                <a:gd name="connsiteY7" fmla="*/ 1398344 h 1436550"/>
                <a:gd name="connsiteX8" fmla="*/ 669244 w 5899025"/>
                <a:gd name="connsiteY8" fmla="*/ 891476 h 1436550"/>
                <a:gd name="connsiteX9" fmla="*/ 669244 w 5899025"/>
                <a:gd name="connsiteY9" fmla="*/ 643137 h 1436550"/>
                <a:gd name="connsiteX10" fmla="*/ 27381 w 5899025"/>
                <a:gd name="connsiteY10" fmla="*/ 0 h 1436550"/>
                <a:gd name="connsiteX11" fmla="*/ 0 w 5899025"/>
                <a:gd name="connsiteY11" fmla="*/ 27381 h 1436550"/>
                <a:gd name="connsiteX12" fmla="*/ 631038 w 5899025"/>
                <a:gd name="connsiteY12" fmla="*/ 658419 h 1436550"/>
                <a:gd name="connsiteX13" fmla="*/ 631038 w 5899025"/>
                <a:gd name="connsiteY13" fmla="*/ 906759 h 1436550"/>
                <a:gd name="connsiteX14" fmla="*/ 1160830 w 5899025"/>
                <a:gd name="connsiteY14" fmla="*/ 1436551 h 1436550"/>
                <a:gd name="connsiteX15" fmla="*/ 2452834 w 5899025"/>
                <a:gd name="connsiteY15" fmla="*/ 1436551 h 1436550"/>
                <a:gd name="connsiteX16" fmla="*/ 2782043 w 5899025"/>
                <a:gd name="connsiteY16" fmla="*/ 1107341 h 1436550"/>
                <a:gd name="connsiteX17" fmla="*/ 4449104 w 5899025"/>
                <a:gd name="connsiteY17" fmla="*/ 1107341 h 1436550"/>
                <a:gd name="connsiteX18" fmla="*/ 4624852 w 5899025"/>
                <a:gd name="connsiteY18" fmla="*/ 1264623 h 1436550"/>
                <a:gd name="connsiteX19" fmla="*/ 4800600 w 5899025"/>
                <a:gd name="connsiteY19" fmla="*/ 1107341 h 1436550"/>
                <a:gd name="connsiteX20" fmla="*/ 5699718 w 5899025"/>
                <a:gd name="connsiteY20" fmla="*/ 1107341 h 1436550"/>
                <a:gd name="connsiteX21" fmla="*/ 5798417 w 5899025"/>
                <a:gd name="connsiteY21" fmla="*/ 1189484 h 1436550"/>
                <a:gd name="connsiteX22" fmla="*/ 5899026 w 5899025"/>
                <a:gd name="connsiteY22" fmla="*/ 1088875 h 1436550"/>
                <a:gd name="connsiteX23" fmla="*/ 5798417 w 5899025"/>
                <a:gd name="connsiteY23" fmla="*/ 988902 h 1436550"/>
                <a:gd name="connsiteX24" fmla="*/ 4624852 w 5899025"/>
                <a:gd name="connsiteY24" fmla="*/ 1226417 h 1436550"/>
                <a:gd name="connsiteX25" fmla="*/ 4487947 w 5899025"/>
                <a:gd name="connsiteY25" fmla="*/ 1107341 h 1436550"/>
                <a:gd name="connsiteX26" fmla="*/ 4486673 w 5899025"/>
                <a:gd name="connsiteY26" fmla="*/ 1088238 h 1436550"/>
                <a:gd name="connsiteX27" fmla="*/ 4487947 w 5899025"/>
                <a:gd name="connsiteY27" fmla="*/ 1069135 h 1436550"/>
                <a:gd name="connsiteX28" fmla="*/ 4624852 w 5899025"/>
                <a:gd name="connsiteY28" fmla="*/ 950059 h 1436550"/>
                <a:gd name="connsiteX29" fmla="*/ 4761757 w 5899025"/>
                <a:gd name="connsiteY29" fmla="*/ 1069135 h 1436550"/>
                <a:gd name="connsiteX30" fmla="*/ 4763031 w 5899025"/>
                <a:gd name="connsiteY30" fmla="*/ 1088238 h 1436550"/>
                <a:gd name="connsiteX31" fmla="*/ 4761757 w 5899025"/>
                <a:gd name="connsiteY31" fmla="*/ 1107341 h 1436550"/>
                <a:gd name="connsiteX32" fmla="*/ 4624852 w 5899025"/>
                <a:gd name="connsiteY32" fmla="*/ 1226417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025" h="1436550">
                  <a:moveTo>
                    <a:pt x="5798417" y="988902"/>
                  </a:moveTo>
                  <a:cubicBezTo>
                    <a:pt x="5750023" y="988902"/>
                    <a:pt x="5709270" y="1023287"/>
                    <a:pt x="5699718" y="1069135"/>
                  </a:cubicBezTo>
                  <a:lnTo>
                    <a:pt x="4800600" y="1069135"/>
                  </a:lnTo>
                  <a:cubicBezTo>
                    <a:pt x="4791049" y="980624"/>
                    <a:pt x="4715910" y="911853"/>
                    <a:pt x="4624852" y="911853"/>
                  </a:cubicBezTo>
                  <a:cubicBezTo>
                    <a:pt x="4533795" y="911853"/>
                    <a:pt x="4458656" y="980624"/>
                    <a:pt x="4449104" y="1069135"/>
                  </a:cubicBezTo>
                  <a:lnTo>
                    <a:pt x="2766124" y="1069135"/>
                  </a:lnTo>
                  <a:lnTo>
                    <a:pt x="2436914" y="1398344"/>
                  </a:lnTo>
                  <a:lnTo>
                    <a:pt x="1176112" y="1398344"/>
                  </a:lnTo>
                  <a:lnTo>
                    <a:pt x="669244" y="891476"/>
                  </a:lnTo>
                  <a:lnTo>
                    <a:pt x="669244" y="643137"/>
                  </a:lnTo>
                  <a:lnTo>
                    <a:pt x="27381" y="0"/>
                  </a:lnTo>
                  <a:lnTo>
                    <a:pt x="0" y="27381"/>
                  </a:lnTo>
                  <a:lnTo>
                    <a:pt x="631038" y="658419"/>
                  </a:lnTo>
                  <a:lnTo>
                    <a:pt x="631038" y="906759"/>
                  </a:lnTo>
                  <a:lnTo>
                    <a:pt x="1160830" y="1436551"/>
                  </a:lnTo>
                  <a:lnTo>
                    <a:pt x="2452834" y="1436551"/>
                  </a:lnTo>
                  <a:lnTo>
                    <a:pt x="2782043" y="1107341"/>
                  </a:lnTo>
                  <a:lnTo>
                    <a:pt x="4449104" y="1107341"/>
                  </a:lnTo>
                  <a:cubicBezTo>
                    <a:pt x="4458656" y="1195852"/>
                    <a:pt x="4533795" y="1264623"/>
                    <a:pt x="4624852" y="1264623"/>
                  </a:cubicBezTo>
                  <a:cubicBezTo>
                    <a:pt x="4715910" y="1264623"/>
                    <a:pt x="4791049" y="1195852"/>
                    <a:pt x="4800600" y="1107341"/>
                  </a:cubicBezTo>
                  <a:lnTo>
                    <a:pt x="5699718" y="1107341"/>
                  </a:lnTo>
                  <a:cubicBezTo>
                    <a:pt x="5707996" y="1154462"/>
                    <a:pt x="5749386" y="1189484"/>
                    <a:pt x="5798417" y="1189484"/>
                  </a:cubicBezTo>
                  <a:cubicBezTo>
                    <a:pt x="5853816" y="1189484"/>
                    <a:pt x="5899026" y="1144274"/>
                    <a:pt x="5899026" y="1088875"/>
                  </a:cubicBezTo>
                  <a:cubicBezTo>
                    <a:pt x="5899026" y="1033476"/>
                    <a:pt x="5853816" y="988902"/>
                    <a:pt x="5798417" y="988902"/>
                  </a:cubicBezTo>
                  <a:close/>
                  <a:moveTo>
                    <a:pt x="4624852" y="1226417"/>
                  </a:moveTo>
                  <a:cubicBezTo>
                    <a:pt x="4554807" y="1226417"/>
                    <a:pt x="4496862" y="1174202"/>
                    <a:pt x="4487947" y="1107341"/>
                  </a:cubicBezTo>
                  <a:cubicBezTo>
                    <a:pt x="4487310" y="1100973"/>
                    <a:pt x="4486673" y="1094606"/>
                    <a:pt x="4486673" y="1088238"/>
                  </a:cubicBezTo>
                  <a:cubicBezTo>
                    <a:pt x="4486673" y="1081870"/>
                    <a:pt x="4487310" y="1075503"/>
                    <a:pt x="4487947" y="1069135"/>
                  </a:cubicBezTo>
                  <a:cubicBezTo>
                    <a:pt x="4497498" y="1002274"/>
                    <a:pt x="4555444" y="950059"/>
                    <a:pt x="4624852" y="950059"/>
                  </a:cubicBezTo>
                  <a:cubicBezTo>
                    <a:pt x="4694260" y="950059"/>
                    <a:pt x="4752206" y="1001637"/>
                    <a:pt x="4761757" y="1069135"/>
                  </a:cubicBezTo>
                  <a:cubicBezTo>
                    <a:pt x="4762394" y="1075503"/>
                    <a:pt x="4763031" y="1081870"/>
                    <a:pt x="4763031" y="1088238"/>
                  </a:cubicBezTo>
                  <a:cubicBezTo>
                    <a:pt x="4763031" y="1094606"/>
                    <a:pt x="4762394" y="1100973"/>
                    <a:pt x="4761757" y="1107341"/>
                  </a:cubicBezTo>
                  <a:cubicBezTo>
                    <a:pt x="4752842" y="1174838"/>
                    <a:pt x="4694897" y="1226417"/>
                    <a:pt x="4624852" y="122641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249028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jpeg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jpeg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2.jpg"/><Relationship Id="rId9" Type="http://schemas.openxmlformats.org/officeDocument/2006/relationships/image" Target="../media/image7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1.jpeg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2.jpg"/><Relationship Id="rId9" Type="http://schemas.openxmlformats.org/officeDocument/2006/relationships/image" Target="../media/image7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jpeg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2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1.jpeg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jpeg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4" Type="http://schemas.openxmlformats.org/officeDocument/2006/relationships/image" Target="../media/image2.jpg"/><Relationship Id="rId9" Type="http://schemas.openxmlformats.org/officeDocument/2006/relationships/image" Target="../media/image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8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jpeg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6" Type="http://schemas.openxmlformats.org/officeDocument/2006/relationships/image" Target="../media/image4.jpg"/><Relationship Id="rId5" Type="http://schemas.openxmlformats.org/officeDocument/2006/relationships/image" Target="../media/image3.jpeg"/><Relationship Id="rId10" Type="http://schemas.openxmlformats.org/officeDocument/2006/relationships/image" Target="../media/image9.jpeg"/><Relationship Id="rId4" Type="http://schemas.openxmlformats.org/officeDocument/2006/relationships/image" Target="../media/image2.jpg"/><Relationship Id="rId9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uman eye seen through transparent digital chart">
            <a:extLst>
              <a:ext uri="{FF2B5EF4-FFF2-40B4-BE49-F238E27FC236}">
                <a16:creationId xmlns:a16="http://schemas.microsoft.com/office/drawing/2014/main" id="{DD25E757-38E6-5925-211D-7FE66C95AA7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" b="1924"/>
          <a:stretch>
            <a:fillRect/>
          </a:stretch>
        </p:blipFill>
        <p:spPr/>
      </p:pic>
      <p:pic>
        <p:nvPicPr>
          <p:cNvPr id="11" name="Picture Placeholder 10" descr="Astronaut in a spacesuit in a white futuristic tunnel">
            <a:extLst>
              <a:ext uri="{FF2B5EF4-FFF2-40B4-BE49-F238E27FC236}">
                <a16:creationId xmlns:a16="http://schemas.microsoft.com/office/drawing/2014/main" id="{8E5ECD85-02F8-3705-BCB1-5B2339723E9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0" r="17280"/>
          <a:stretch>
            <a:fillRect/>
          </a:stretch>
        </p:blipFill>
        <p:spPr/>
      </p:pic>
      <p:pic>
        <p:nvPicPr>
          <p:cNvPr id="13" name="Picture Placeholder 12" descr="Car made of green leaves disappearing">
            <a:extLst>
              <a:ext uri="{FF2B5EF4-FFF2-40B4-BE49-F238E27FC236}">
                <a16:creationId xmlns:a16="http://schemas.microsoft.com/office/drawing/2014/main" id="{E3AFE0A7-3E9B-C32D-48A1-8D5F108CFA2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55" b="10755"/>
          <a:stretch>
            <a:fillRect/>
          </a:stretch>
        </p:blipFill>
        <p:spPr/>
      </p:pic>
      <p:pic>
        <p:nvPicPr>
          <p:cNvPr id="15" name="Picture Placeholder 14" descr="Businesswoman looking out of window">
            <a:extLst>
              <a:ext uri="{FF2B5EF4-FFF2-40B4-BE49-F238E27FC236}">
                <a16:creationId xmlns:a16="http://schemas.microsoft.com/office/drawing/2014/main" id="{D6B995CA-EE77-B250-04C6-DF5E27D95E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r="17233"/>
          <a:stretch>
            <a:fillRect/>
          </a:stretch>
        </p:blipFill>
        <p:spPr/>
      </p:pic>
      <p:pic>
        <p:nvPicPr>
          <p:cNvPr id="17" name="Picture Placeholder 16" descr="Person examining prototype">
            <a:extLst>
              <a:ext uri="{FF2B5EF4-FFF2-40B4-BE49-F238E27FC236}">
                <a16:creationId xmlns:a16="http://schemas.microsoft.com/office/drawing/2014/main" id="{7F5D5AF9-F2F7-631B-35EF-17C00808C3C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96" r="24496"/>
          <a:stretch>
            <a:fillRect/>
          </a:stretch>
        </p:blipFill>
        <p:spPr/>
      </p:pic>
      <p:pic>
        <p:nvPicPr>
          <p:cNvPr id="19" name="Picture Placeholder 18" descr="3D face graphic">
            <a:extLst>
              <a:ext uri="{FF2B5EF4-FFF2-40B4-BE49-F238E27FC236}">
                <a16:creationId xmlns:a16="http://schemas.microsoft.com/office/drawing/2014/main" id="{D90C7C37-408D-E018-AF15-083127F5DCC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6" b="6226"/>
          <a:stretch>
            <a:fillRect/>
          </a:stretch>
        </p:blipFill>
        <p:spPr/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28ED0295-32D0-58F6-9515-BD78E2509F40}"/>
              </a:ext>
            </a:extLst>
          </p:cNvPr>
          <p:cNvGrpSpPr/>
          <p:nvPr/>
        </p:nvGrpSpPr>
        <p:grpSpPr>
          <a:xfrm>
            <a:off x="3181851" y="3489203"/>
            <a:ext cx="5828298" cy="1287192"/>
            <a:chOff x="3035300" y="3581400"/>
            <a:chExt cx="6121400" cy="135192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B267851-0CC7-F24E-D0B7-2A362DCEBD62}"/>
                </a:ext>
              </a:extLst>
            </p:cNvPr>
            <p:cNvSpPr/>
            <p:nvPr/>
          </p:nvSpPr>
          <p:spPr>
            <a:xfrm>
              <a:off x="3035300" y="3581400"/>
              <a:ext cx="6121400" cy="1351924"/>
            </a:xfrm>
            <a:prstGeom prst="rect">
              <a:avLst/>
            </a:prstGeom>
            <a:solidFill>
              <a:schemeClr val="accent1">
                <a:alpha val="95000"/>
              </a:schemeClr>
            </a:solidFill>
            <a:ln>
              <a:noFill/>
            </a:ln>
            <a:effectLst>
              <a:outerShdw blurRad="431800" sx="106000" sy="106000" algn="ctr" rotWithShape="0">
                <a:prstClr val="black">
                  <a:alpha val="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C7D910B-0781-47BB-5F93-C995962954AD}"/>
                </a:ext>
              </a:extLst>
            </p:cNvPr>
            <p:cNvSpPr txBox="1"/>
            <p:nvPr/>
          </p:nvSpPr>
          <p:spPr>
            <a:xfrm>
              <a:off x="3225800" y="3929597"/>
              <a:ext cx="574040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5400" b="1" dirty="0">
                  <a:solidFill>
                    <a:srgbClr val="FFFFFF"/>
                  </a:solidFill>
                  <a:latin typeface="Jura"/>
                  <a:ea typeface="Roboto" panose="02000000000000000000" pitchFamily="2" charset="0"/>
                </a:rPr>
                <a:t>Future is now</a:t>
              </a:r>
              <a:endPara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Roboto" panose="02000000000000000000" pitchFamily="2" charset="0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231596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Person typing on laptop">
            <a:extLst>
              <a:ext uri="{FF2B5EF4-FFF2-40B4-BE49-F238E27FC236}">
                <a16:creationId xmlns:a16="http://schemas.microsoft.com/office/drawing/2014/main" id="{D0BF43C1-E0F0-8533-5717-D79EE4044CC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01" b="28901"/>
          <a:stretch>
            <a:fillRect/>
          </a:stretch>
        </p:blipFill>
        <p:spPr/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DCCCA05-FB1C-33F2-AE6A-1536FD0A8F72}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5000"/>
                </a:schemeClr>
              </a:gs>
              <a:gs pos="35000">
                <a:schemeClr val="accent1">
                  <a:lumMod val="75000"/>
                  <a:alpha val="75000"/>
                </a:schemeClr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E903F9-7858-2667-C99A-C4F6C3FF1BD4}"/>
              </a:ext>
            </a:extLst>
          </p:cNvPr>
          <p:cNvCxnSpPr>
            <a:cxnSpLocks/>
          </p:cNvCxnSpPr>
          <p:nvPr/>
        </p:nvCxnSpPr>
        <p:spPr>
          <a:xfrm>
            <a:off x="5693288" y="5679827"/>
            <a:ext cx="1554092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4325E8B-6F3A-6209-1E60-C9EBF118A253}"/>
              </a:ext>
            </a:extLst>
          </p:cNvPr>
          <p:cNvCxnSpPr>
            <a:cxnSpLocks/>
          </p:cNvCxnSpPr>
          <p:nvPr/>
        </p:nvCxnSpPr>
        <p:spPr>
          <a:xfrm>
            <a:off x="9546442" y="5679827"/>
            <a:ext cx="1550364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Placeholder 44" descr="A person sitting in an airplane seat using a laptop computer">
            <a:extLst>
              <a:ext uri="{FF2B5EF4-FFF2-40B4-BE49-F238E27FC236}">
                <a16:creationId xmlns:a16="http://schemas.microsoft.com/office/drawing/2014/main" id="{4EE55824-DBB0-02B2-FA23-46D1EA6406E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2" r="16682"/>
          <a:stretch>
            <a:fillRect/>
          </a:stretch>
        </p:blipFill>
        <p:spPr/>
      </p:pic>
      <p:pic>
        <p:nvPicPr>
          <p:cNvPr id="43" name="Picture Placeholder 42" descr="Red ad gree bar graphs and numbers above the city skyline">
            <a:extLst>
              <a:ext uri="{FF2B5EF4-FFF2-40B4-BE49-F238E27FC236}">
                <a16:creationId xmlns:a16="http://schemas.microsoft.com/office/drawing/2014/main" id="{12D6F3C0-E470-A8A7-80FF-C57A41AE3DA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2" r="13072"/>
          <a:stretch>
            <a:fillRect/>
          </a:stretch>
        </p:blipFill>
        <p:spPr/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4BB2C5D-5C4A-BB47-11EC-3F1B8F4B1F89}"/>
              </a:ext>
            </a:extLst>
          </p:cNvPr>
          <p:cNvSpPr txBox="1"/>
          <p:nvPr/>
        </p:nvSpPr>
        <p:spPr>
          <a:xfrm>
            <a:off x="475423" y="1276094"/>
            <a:ext cx="14354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6600" b="1">
                <a:solidFill>
                  <a:schemeClr val="bg1">
                    <a:lumMod val="85000"/>
                    <a:alpha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0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3A7D99-B248-10C6-E85F-CA00D7B91465}"/>
              </a:ext>
            </a:extLst>
          </p:cNvPr>
          <p:cNvSpPr txBox="1"/>
          <p:nvPr/>
        </p:nvSpPr>
        <p:spPr>
          <a:xfrm>
            <a:off x="925105" y="1859041"/>
            <a:ext cx="2360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7200">
                <a:solidFill>
                  <a:schemeClr val="accent1"/>
                </a:solidFill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Another n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400" dirty="0">
                <a:solidFill>
                  <a:srgbClr val="FFFFFF"/>
                </a:solidFill>
                <a:latin typeface="Jura"/>
              </a:rPr>
              <a:t>Slide, wowz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7F8D88-A3F1-36DB-D54E-B81289DDE9BC}"/>
              </a:ext>
            </a:extLst>
          </p:cNvPr>
          <p:cNvGrpSpPr/>
          <p:nvPr/>
        </p:nvGrpSpPr>
        <p:grpSpPr>
          <a:xfrm>
            <a:off x="8476343" y="0"/>
            <a:ext cx="3718202" cy="2732009"/>
            <a:chOff x="7950200" y="0"/>
            <a:chExt cx="4244346" cy="3118602"/>
          </a:xfrm>
          <a:solidFill>
            <a:schemeClr val="bg1"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825C2C8-4AFD-C413-24D4-9BAADDA0F719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9D0ACA-C0B1-57F7-A640-025F956AA6FA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7DF0E96-D34C-A1CD-454C-17753E6EFE48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0DF023F-C632-5CAC-C123-D43C6F2EFCCB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24F4AB7-F632-A0BA-1AEE-65EE35DA1608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67E84A9-82A8-A434-795B-B2D0D94C2860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C8C6845-D663-90E8-1984-805AD83B301C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E8D0C2C-DDCD-9FB5-FB3E-B5670F288B46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3486A2A-EE74-D829-12C9-EE0B9BAA8B05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ABF05BD-73B8-12CD-3D13-F3083E882031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6B534F4-025D-4066-9F53-5184CCDE5A57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3E60DC9-159D-ECB0-F0A3-0C831F9B9F93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5F2F3FE-174B-55BE-FDCF-0AC424115232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9939980-9B84-A2FF-F220-20FF1F811797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87F6299-9530-F184-18A8-E3096917FBB3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514A23A-02ED-1FEB-9A9C-0591A2EB331E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475B77A-6772-D7EC-E60C-7C18D90B8A32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F3E2146-753D-9983-B8DA-86D04B43F176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9EF9AEE-AB54-C455-2B99-6086A07C8AEA}"/>
              </a:ext>
            </a:extLst>
          </p:cNvPr>
          <p:cNvSpPr txBox="1"/>
          <p:nvPr/>
        </p:nvSpPr>
        <p:spPr>
          <a:xfrm>
            <a:off x="4950028" y="5341273"/>
            <a:ext cx="1808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Nice transitio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A71462-1A13-6BDB-BA19-9F81006A92B2}"/>
              </a:ext>
            </a:extLst>
          </p:cNvPr>
          <p:cNvSpPr txBox="1"/>
          <p:nvPr/>
        </p:nvSpPr>
        <p:spPr>
          <a:xfrm>
            <a:off x="8840946" y="5341273"/>
            <a:ext cx="1689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Make it bett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139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F6C80-F55F-7FFC-59D6-B98B80805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uman eye seen through transparent digital chart">
            <a:extLst>
              <a:ext uri="{FF2B5EF4-FFF2-40B4-BE49-F238E27FC236}">
                <a16:creationId xmlns:a16="http://schemas.microsoft.com/office/drawing/2014/main" id="{E0004C35-50D9-D48B-0D36-932379641E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" b="1924"/>
          <a:stretch>
            <a:fillRect/>
          </a:stretch>
        </p:blipFill>
        <p:spPr/>
      </p:pic>
      <p:pic>
        <p:nvPicPr>
          <p:cNvPr id="11" name="Picture Placeholder 10" descr="Astronaut in a spacesuit in a white futuristic tunnel">
            <a:extLst>
              <a:ext uri="{FF2B5EF4-FFF2-40B4-BE49-F238E27FC236}">
                <a16:creationId xmlns:a16="http://schemas.microsoft.com/office/drawing/2014/main" id="{FF3556C5-2EC3-4E84-4B08-D1550D9F386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0" r="17280"/>
          <a:stretch>
            <a:fillRect/>
          </a:stretch>
        </p:blipFill>
        <p:spPr/>
      </p:pic>
      <p:pic>
        <p:nvPicPr>
          <p:cNvPr id="13" name="Picture Placeholder 12" descr="Car made of green leaves disappearing">
            <a:extLst>
              <a:ext uri="{FF2B5EF4-FFF2-40B4-BE49-F238E27FC236}">
                <a16:creationId xmlns:a16="http://schemas.microsoft.com/office/drawing/2014/main" id="{EF9D3130-75E3-A9C5-3853-03474DA94EB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55" b="10755"/>
          <a:stretch>
            <a:fillRect/>
          </a:stretch>
        </p:blipFill>
        <p:spPr/>
      </p:pic>
      <p:pic>
        <p:nvPicPr>
          <p:cNvPr id="15" name="Picture Placeholder 14" descr="Businesswoman looking out of window">
            <a:extLst>
              <a:ext uri="{FF2B5EF4-FFF2-40B4-BE49-F238E27FC236}">
                <a16:creationId xmlns:a16="http://schemas.microsoft.com/office/drawing/2014/main" id="{ABB15722-C73F-7F47-3DA7-DC39E111ADF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r="17233"/>
          <a:stretch>
            <a:fillRect/>
          </a:stretch>
        </p:blipFill>
        <p:spPr/>
      </p:pic>
      <p:pic>
        <p:nvPicPr>
          <p:cNvPr id="17" name="Picture Placeholder 16" descr="Person examining prototype">
            <a:extLst>
              <a:ext uri="{FF2B5EF4-FFF2-40B4-BE49-F238E27FC236}">
                <a16:creationId xmlns:a16="http://schemas.microsoft.com/office/drawing/2014/main" id="{DCDB636B-32F5-B133-D182-BFCADB07A9C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96" r="24496"/>
          <a:stretch>
            <a:fillRect/>
          </a:stretch>
        </p:blipFill>
        <p:spPr/>
      </p:pic>
      <p:pic>
        <p:nvPicPr>
          <p:cNvPr id="19" name="Picture Placeholder 18" descr="3D face graphic">
            <a:extLst>
              <a:ext uri="{FF2B5EF4-FFF2-40B4-BE49-F238E27FC236}">
                <a16:creationId xmlns:a16="http://schemas.microsoft.com/office/drawing/2014/main" id="{F9F1AF04-B7E7-671E-C652-5CE3185FFC9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6" b="6226"/>
          <a:stretch>
            <a:fillRect/>
          </a:stretch>
        </p:blipFill>
        <p:spPr/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362F8B3C-832B-11E3-C59E-688A9F793814}"/>
              </a:ext>
            </a:extLst>
          </p:cNvPr>
          <p:cNvGrpSpPr/>
          <p:nvPr/>
        </p:nvGrpSpPr>
        <p:grpSpPr>
          <a:xfrm>
            <a:off x="3181851" y="3489203"/>
            <a:ext cx="5828298" cy="1287192"/>
            <a:chOff x="3035300" y="3581400"/>
            <a:chExt cx="6121400" cy="135192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800E084-1231-89EC-4000-91CC73645F13}"/>
                </a:ext>
              </a:extLst>
            </p:cNvPr>
            <p:cNvSpPr/>
            <p:nvPr/>
          </p:nvSpPr>
          <p:spPr>
            <a:xfrm>
              <a:off x="3035300" y="3581400"/>
              <a:ext cx="6121400" cy="1351924"/>
            </a:xfrm>
            <a:prstGeom prst="rect">
              <a:avLst/>
            </a:prstGeom>
            <a:solidFill>
              <a:schemeClr val="accent1">
                <a:alpha val="95000"/>
              </a:schemeClr>
            </a:solidFill>
            <a:ln>
              <a:noFill/>
            </a:ln>
            <a:effectLst>
              <a:outerShdw blurRad="431800" sx="106000" sy="106000" algn="ctr" rotWithShape="0">
                <a:prstClr val="black">
                  <a:alpha val="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2262E4B-FA18-DA0D-BB70-4F542A4CA47A}"/>
                </a:ext>
              </a:extLst>
            </p:cNvPr>
            <p:cNvSpPr txBox="1"/>
            <p:nvPr/>
          </p:nvSpPr>
          <p:spPr>
            <a:xfrm>
              <a:off x="3225800" y="3929597"/>
              <a:ext cx="574040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5400" b="1" dirty="0">
                  <a:solidFill>
                    <a:srgbClr val="FFFFFF"/>
                  </a:solidFill>
                  <a:latin typeface="Jura"/>
                  <a:ea typeface="Roboto" panose="02000000000000000000" pitchFamily="2" charset="0"/>
                </a:rPr>
                <a:t>Future is now</a:t>
              </a:r>
              <a:endPara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Roboto" panose="02000000000000000000" pitchFamily="2" charset="0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EC78E49-67AB-B1E4-7CF6-69A2F1CD8A7B}"/>
              </a:ext>
            </a:extLst>
          </p:cNvPr>
          <p:cNvSpPr/>
          <p:nvPr/>
        </p:nvSpPr>
        <p:spPr>
          <a:xfrm>
            <a:off x="0" y="-6908804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31B07F-5160-1F7A-7529-3333D792F864}"/>
              </a:ext>
            </a:extLst>
          </p:cNvPr>
          <p:cNvSpPr/>
          <p:nvPr/>
        </p:nvSpPr>
        <p:spPr>
          <a:xfrm>
            <a:off x="0" y="-8650562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Placeholder 12" descr="Person typing on laptop">
            <a:extLst>
              <a:ext uri="{FF2B5EF4-FFF2-40B4-BE49-F238E27FC236}">
                <a16:creationId xmlns:a16="http://schemas.microsoft.com/office/drawing/2014/main" id="{AFDD5DAD-4343-13B7-CF3D-3D1B45760D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01" b="28901"/>
          <a:stretch>
            <a:fillRect/>
          </a:stretch>
        </p:blipFill>
        <p:spPr>
          <a:xfrm>
            <a:off x="0" y="-8650562"/>
            <a:ext cx="12192000" cy="3429000"/>
          </a:xfrm>
          <a:custGeom>
            <a:avLst/>
            <a:gdLst>
              <a:gd name="connsiteX0" fmla="*/ 0 w 3516313"/>
              <a:gd name="connsiteY0" fmla="*/ 0 h 1931988"/>
              <a:gd name="connsiteX1" fmla="*/ 3516313 w 3516313"/>
              <a:gd name="connsiteY1" fmla="*/ 0 h 1931988"/>
              <a:gd name="connsiteX2" fmla="*/ 3516313 w 3516313"/>
              <a:gd name="connsiteY2" fmla="*/ 1931988 h 1931988"/>
              <a:gd name="connsiteX3" fmla="*/ 0 w 3516313"/>
              <a:gd name="connsiteY3" fmla="*/ 1931988 h 193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16313" h="1931988">
                <a:moveTo>
                  <a:pt x="0" y="0"/>
                </a:moveTo>
                <a:lnTo>
                  <a:pt x="3516313" y="0"/>
                </a:lnTo>
                <a:lnTo>
                  <a:pt x="3516313" y="1931988"/>
                </a:lnTo>
                <a:lnTo>
                  <a:pt x="0" y="19319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C8B347F-3CFF-622F-EA3D-2D3F565B6BC3}"/>
              </a:ext>
            </a:extLst>
          </p:cNvPr>
          <p:cNvSpPr/>
          <p:nvPr/>
        </p:nvSpPr>
        <p:spPr>
          <a:xfrm>
            <a:off x="0" y="-8650562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5000"/>
                </a:schemeClr>
              </a:gs>
              <a:gs pos="35000">
                <a:schemeClr val="accent1">
                  <a:lumMod val="75000"/>
                  <a:alpha val="75000"/>
                </a:schemeClr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96E530-C1E4-A7EE-D69D-0FE8EA2F9DF8}"/>
              </a:ext>
            </a:extLst>
          </p:cNvPr>
          <p:cNvSpPr txBox="1"/>
          <p:nvPr/>
        </p:nvSpPr>
        <p:spPr>
          <a:xfrm>
            <a:off x="475423" y="-7374468"/>
            <a:ext cx="14354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6600" b="1">
                <a:solidFill>
                  <a:schemeClr val="bg1">
                    <a:lumMod val="85000"/>
                    <a:alpha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0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0DBAD5-625E-17ED-43E8-B117147E9D5F}"/>
              </a:ext>
            </a:extLst>
          </p:cNvPr>
          <p:cNvSpPr txBox="1"/>
          <p:nvPr/>
        </p:nvSpPr>
        <p:spPr>
          <a:xfrm>
            <a:off x="925105" y="-6791521"/>
            <a:ext cx="2360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7200">
                <a:solidFill>
                  <a:schemeClr val="accent1"/>
                </a:solidFill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Another n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400" dirty="0">
                <a:solidFill>
                  <a:srgbClr val="FFFFFF"/>
                </a:solidFill>
                <a:latin typeface="Jura"/>
              </a:rPr>
              <a:t>Slide, wowz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DEF958D-4588-3FEF-064B-8F15AD2EEACF}"/>
              </a:ext>
            </a:extLst>
          </p:cNvPr>
          <p:cNvGrpSpPr/>
          <p:nvPr/>
        </p:nvGrpSpPr>
        <p:grpSpPr>
          <a:xfrm>
            <a:off x="8476343" y="-8650562"/>
            <a:ext cx="3718202" cy="2732009"/>
            <a:chOff x="7950200" y="0"/>
            <a:chExt cx="4244346" cy="3118602"/>
          </a:xfrm>
          <a:solidFill>
            <a:schemeClr val="bg1">
              <a:alpha val="10000"/>
            </a:schemeClr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154F5D0-B6E6-9151-697F-3D7B452690C8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5296671-A83F-0BB7-301D-70A81E7BFC3D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F056A7B-E9C6-A4C0-0110-1EC5B3EF4142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AB4698E-6A3E-A6A7-1A87-D8258FC783AC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A12E458-A7E9-B306-B5F2-682C9039FED0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B0F21B7-9EB6-78E8-C1E1-250CFE1B20FC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FDADE1F-E746-FD9A-9BFC-38D1D67E53C1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815D318-235B-848E-C109-DF5F56A25430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8B560AF-A382-484F-735B-A029A4D08BC8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B03F7FC-EC48-D8CF-44AA-32F30A395220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232260B-3103-0C1A-344F-7B395C99D48C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2868EBD-155E-BFA4-4148-03EB4E2F1E58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4DA1B38-1CA7-0CBC-DDDB-B4E66ED3C187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0A14809-3726-9F21-CA9D-874C57E6B011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4F76873-F57C-8D4E-5752-C4E60B5082DD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5857F3E-C4D3-0C72-492C-CCFF28A04E9A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0BA3342-20F0-1AE5-8F23-A18C19870CD2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332E95A-809A-2755-B612-9F44E532C4F6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1054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96EE59-B0A1-B701-4792-4264A79F0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uman eye seen through transparent digital chart">
            <a:extLst>
              <a:ext uri="{FF2B5EF4-FFF2-40B4-BE49-F238E27FC236}">
                <a16:creationId xmlns:a16="http://schemas.microsoft.com/office/drawing/2014/main" id="{6F4AF00F-E503-9992-1BDC-1DC34E3449C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" b="1924"/>
          <a:stretch>
            <a:fillRect/>
          </a:stretch>
        </p:blipFill>
        <p:spPr/>
      </p:pic>
      <p:pic>
        <p:nvPicPr>
          <p:cNvPr id="11" name="Picture Placeholder 10" descr="Astronaut in a spacesuit in a white futuristic tunnel">
            <a:extLst>
              <a:ext uri="{FF2B5EF4-FFF2-40B4-BE49-F238E27FC236}">
                <a16:creationId xmlns:a16="http://schemas.microsoft.com/office/drawing/2014/main" id="{EEDF3F4A-02FF-4DD6-8A87-013DAEB484E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0" r="17280"/>
          <a:stretch>
            <a:fillRect/>
          </a:stretch>
        </p:blipFill>
        <p:spPr/>
      </p:pic>
      <p:pic>
        <p:nvPicPr>
          <p:cNvPr id="13" name="Picture Placeholder 12" descr="Car made of green leaves disappearing">
            <a:extLst>
              <a:ext uri="{FF2B5EF4-FFF2-40B4-BE49-F238E27FC236}">
                <a16:creationId xmlns:a16="http://schemas.microsoft.com/office/drawing/2014/main" id="{17798CDA-0161-C331-1AE3-A74D4A3620F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55" b="10755"/>
          <a:stretch>
            <a:fillRect/>
          </a:stretch>
        </p:blipFill>
        <p:spPr/>
      </p:pic>
      <p:pic>
        <p:nvPicPr>
          <p:cNvPr id="15" name="Picture Placeholder 14" descr="Businesswoman looking out of window">
            <a:extLst>
              <a:ext uri="{FF2B5EF4-FFF2-40B4-BE49-F238E27FC236}">
                <a16:creationId xmlns:a16="http://schemas.microsoft.com/office/drawing/2014/main" id="{A05BF1B9-BCCB-7512-76C8-7023C382263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r="17233"/>
          <a:stretch>
            <a:fillRect/>
          </a:stretch>
        </p:blipFill>
        <p:spPr/>
      </p:pic>
      <p:pic>
        <p:nvPicPr>
          <p:cNvPr id="17" name="Picture Placeholder 16" descr="Person examining prototype">
            <a:extLst>
              <a:ext uri="{FF2B5EF4-FFF2-40B4-BE49-F238E27FC236}">
                <a16:creationId xmlns:a16="http://schemas.microsoft.com/office/drawing/2014/main" id="{20F49FA8-3C45-89AD-8109-179D79CA613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96" r="24496"/>
          <a:stretch>
            <a:fillRect/>
          </a:stretch>
        </p:blipFill>
        <p:spPr/>
      </p:pic>
      <p:pic>
        <p:nvPicPr>
          <p:cNvPr id="19" name="Picture Placeholder 18" descr="3D face graphic">
            <a:extLst>
              <a:ext uri="{FF2B5EF4-FFF2-40B4-BE49-F238E27FC236}">
                <a16:creationId xmlns:a16="http://schemas.microsoft.com/office/drawing/2014/main" id="{43ABF29B-4687-CDA4-1736-8D73E524380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6" b="6226"/>
          <a:stretch>
            <a:fillRect/>
          </a:stretch>
        </p:blipFill>
        <p:spPr/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71E78712-07D0-575B-E420-7994D1276923}"/>
              </a:ext>
            </a:extLst>
          </p:cNvPr>
          <p:cNvGrpSpPr/>
          <p:nvPr/>
        </p:nvGrpSpPr>
        <p:grpSpPr>
          <a:xfrm>
            <a:off x="3181851" y="3489203"/>
            <a:ext cx="5828298" cy="1287192"/>
            <a:chOff x="3035300" y="3581400"/>
            <a:chExt cx="6121400" cy="135192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FAEEFE7-0539-F6A4-D912-8D53B8749425}"/>
                </a:ext>
              </a:extLst>
            </p:cNvPr>
            <p:cNvSpPr/>
            <p:nvPr/>
          </p:nvSpPr>
          <p:spPr>
            <a:xfrm>
              <a:off x="3035300" y="3581400"/>
              <a:ext cx="6121400" cy="1351924"/>
            </a:xfrm>
            <a:prstGeom prst="rect">
              <a:avLst/>
            </a:prstGeom>
            <a:solidFill>
              <a:schemeClr val="accent1">
                <a:alpha val="95000"/>
              </a:schemeClr>
            </a:solidFill>
            <a:ln>
              <a:noFill/>
            </a:ln>
            <a:effectLst>
              <a:outerShdw blurRad="431800" sx="106000" sy="106000" algn="ctr" rotWithShape="0">
                <a:prstClr val="black">
                  <a:alpha val="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6D63ED1-C344-8F2B-FC12-A8974255429D}"/>
                </a:ext>
              </a:extLst>
            </p:cNvPr>
            <p:cNvSpPr txBox="1"/>
            <p:nvPr/>
          </p:nvSpPr>
          <p:spPr>
            <a:xfrm>
              <a:off x="3225800" y="3929597"/>
              <a:ext cx="574040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5400" b="1" dirty="0">
                  <a:solidFill>
                    <a:srgbClr val="FFFFFF"/>
                  </a:solidFill>
                  <a:latin typeface="Jura"/>
                  <a:ea typeface="Roboto" panose="02000000000000000000" pitchFamily="2" charset="0"/>
                </a:rPr>
                <a:t>Future is now</a:t>
              </a:r>
              <a:endPara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Roboto" panose="02000000000000000000" pitchFamily="2" charset="0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02122F66-5A50-6D71-ACF9-17465AF6A15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38ABAC-4735-443F-12D4-F10ABEAB3A9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Placeholder 12" descr="Person typing on laptop">
            <a:extLst>
              <a:ext uri="{FF2B5EF4-FFF2-40B4-BE49-F238E27FC236}">
                <a16:creationId xmlns:a16="http://schemas.microsoft.com/office/drawing/2014/main" id="{6416B9F8-B03D-7811-F75C-A28D6A29E4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01" b="28901"/>
          <a:stretch>
            <a:fillRect/>
          </a:stretch>
        </p:blipFill>
        <p:spPr>
          <a:xfrm>
            <a:off x="0" y="0"/>
            <a:ext cx="12192000" cy="3429000"/>
          </a:xfrm>
          <a:custGeom>
            <a:avLst/>
            <a:gdLst>
              <a:gd name="connsiteX0" fmla="*/ 0 w 3516313"/>
              <a:gd name="connsiteY0" fmla="*/ 0 h 1931988"/>
              <a:gd name="connsiteX1" fmla="*/ 3516313 w 3516313"/>
              <a:gd name="connsiteY1" fmla="*/ 0 h 1931988"/>
              <a:gd name="connsiteX2" fmla="*/ 3516313 w 3516313"/>
              <a:gd name="connsiteY2" fmla="*/ 1931988 h 1931988"/>
              <a:gd name="connsiteX3" fmla="*/ 0 w 3516313"/>
              <a:gd name="connsiteY3" fmla="*/ 1931988 h 1931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16313" h="1931988">
                <a:moveTo>
                  <a:pt x="0" y="0"/>
                </a:moveTo>
                <a:lnTo>
                  <a:pt x="3516313" y="0"/>
                </a:lnTo>
                <a:lnTo>
                  <a:pt x="3516313" y="1931988"/>
                </a:lnTo>
                <a:lnTo>
                  <a:pt x="0" y="19319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A8C8B35-6A78-7519-4DDB-8A8FBA8498F4}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5000"/>
                </a:schemeClr>
              </a:gs>
              <a:gs pos="35000">
                <a:schemeClr val="accent1">
                  <a:lumMod val="75000"/>
                  <a:alpha val="75000"/>
                </a:schemeClr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4DCFBD-6C14-B0A2-B56C-E863D7F22BF0}"/>
              </a:ext>
            </a:extLst>
          </p:cNvPr>
          <p:cNvSpPr txBox="1"/>
          <p:nvPr/>
        </p:nvSpPr>
        <p:spPr>
          <a:xfrm>
            <a:off x="475423" y="1276094"/>
            <a:ext cx="14354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6600" b="1">
                <a:solidFill>
                  <a:schemeClr val="bg1">
                    <a:lumMod val="85000"/>
                    <a:alpha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AA4614-2785-4E77-04DD-851450299F2B}"/>
              </a:ext>
            </a:extLst>
          </p:cNvPr>
          <p:cNvSpPr txBox="1"/>
          <p:nvPr/>
        </p:nvSpPr>
        <p:spPr>
          <a:xfrm>
            <a:off x="925105" y="1859041"/>
            <a:ext cx="2360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7200">
                <a:solidFill>
                  <a:schemeClr val="accent1"/>
                </a:solidFill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Another n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400" dirty="0">
                <a:solidFill>
                  <a:srgbClr val="FFFFFF"/>
                </a:solidFill>
                <a:latin typeface="Jura"/>
              </a:rPr>
              <a:t>Slide, wowz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5ECDD7E-4668-6732-497C-75A71F4D2BC5}"/>
              </a:ext>
            </a:extLst>
          </p:cNvPr>
          <p:cNvGrpSpPr/>
          <p:nvPr/>
        </p:nvGrpSpPr>
        <p:grpSpPr>
          <a:xfrm>
            <a:off x="8476343" y="0"/>
            <a:ext cx="3718202" cy="2732009"/>
            <a:chOff x="7950200" y="0"/>
            <a:chExt cx="4244346" cy="3118602"/>
          </a:xfrm>
          <a:solidFill>
            <a:schemeClr val="bg1">
              <a:alpha val="10000"/>
            </a:schemeClr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FD51D69-59A7-BE20-83A8-FB4194A748FB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A87C431-15CF-56E1-A5DC-B4324D52553D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887E7FC-B948-58FC-E9C5-26DD43F0EF68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990115-7D4E-4C35-F4EB-D5B37AB8A049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BD5C3E-CCA4-5086-A5F8-3ACCF7E80D80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A931D15-568D-C88A-7D7B-66EDD47DD59B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31B314-F8FE-DE5B-3694-E3AE806953BA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3F7FA72-107D-7AE3-783D-56CE46B08A0F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309D1E6-138C-4269-B9CA-66BC3239793C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3420863-4603-38BC-AF9A-8187D76D3DFB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C1FBD4-FBAA-ABB5-0B3C-053BA87049BF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D188299-09C0-2EC4-2487-AE567A3B2703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6FA90C0-0541-706E-4B5A-6041592E59AB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6014A9E-9552-4DA0-2118-22B78018811A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8FB825F-2240-516E-99F0-4A7819F687D7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A562273-CAF1-811C-CBF2-1C7A57BD88C0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5DCA148-C86E-033A-7E68-6C96F8A46537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DF0F6E7-518A-B9CE-56ED-F5D9C1D1202C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272344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 advClick="0" advTm="0">
        <p159:morph option="byObject"/>
      </p:transition>
    </mc:Choice>
    <mc:Fallback xmlns="">
      <p:transition spd="slow" advClick="0" advTm="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C49F21-62C3-6FC4-A87E-C8DF0BC965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Person typing on laptop">
            <a:extLst>
              <a:ext uri="{FF2B5EF4-FFF2-40B4-BE49-F238E27FC236}">
                <a16:creationId xmlns:a16="http://schemas.microsoft.com/office/drawing/2014/main" id="{6A598A5A-AF74-40EE-86F4-32C2D94E77E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01" b="28901"/>
          <a:stretch>
            <a:fillRect/>
          </a:stretch>
        </p:blipFill>
        <p:spPr/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B8A467E-2692-D691-B788-CF55A8F88F18}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5000"/>
                </a:schemeClr>
              </a:gs>
              <a:gs pos="35000">
                <a:schemeClr val="accent1">
                  <a:lumMod val="75000"/>
                  <a:alpha val="75000"/>
                </a:schemeClr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485688-19B3-B5A9-BFE5-02F6AFEA48D9}"/>
              </a:ext>
            </a:extLst>
          </p:cNvPr>
          <p:cNvCxnSpPr>
            <a:cxnSpLocks/>
          </p:cNvCxnSpPr>
          <p:nvPr/>
        </p:nvCxnSpPr>
        <p:spPr>
          <a:xfrm>
            <a:off x="5693288" y="5679827"/>
            <a:ext cx="1554092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A0CE84-90D9-6E87-D073-AC9B37C946E3}"/>
              </a:ext>
            </a:extLst>
          </p:cNvPr>
          <p:cNvCxnSpPr>
            <a:cxnSpLocks/>
          </p:cNvCxnSpPr>
          <p:nvPr/>
        </p:nvCxnSpPr>
        <p:spPr>
          <a:xfrm>
            <a:off x="9546442" y="5679827"/>
            <a:ext cx="1550364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Placeholder 44" descr="A person sitting in an airplane seat using a laptop computer">
            <a:extLst>
              <a:ext uri="{FF2B5EF4-FFF2-40B4-BE49-F238E27FC236}">
                <a16:creationId xmlns:a16="http://schemas.microsoft.com/office/drawing/2014/main" id="{B607889A-9E6B-0FD5-319D-D3082446BC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2" r="16682"/>
          <a:stretch>
            <a:fillRect/>
          </a:stretch>
        </p:blipFill>
        <p:spPr/>
      </p:pic>
      <p:pic>
        <p:nvPicPr>
          <p:cNvPr id="43" name="Picture Placeholder 42" descr="Red ad gree bar graphs and numbers above the city skyline">
            <a:extLst>
              <a:ext uri="{FF2B5EF4-FFF2-40B4-BE49-F238E27FC236}">
                <a16:creationId xmlns:a16="http://schemas.microsoft.com/office/drawing/2014/main" id="{B60A9DE3-7071-14A2-BD5B-65FCA8CA670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2" r="13072"/>
          <a:stretch>
            <a:fillRect/>
          </a:stretch>
        </p:blipFill>
        <p:spPr/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B5D6C88-2B7F-FE69-6D0F-79F70F132428}"/>
              </a:ext>
            </a:extLst>
          </p:cNvPr>
          <p:cNvSpPr txBox="1"/>
          <p:nvPr/>
        </p:nvSpPr>
        <p:spPr>
          <a:xfrm>
            <a:off x="475423" y="1276094"/>
            <a:ext cx="14354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6600" b="1">
                <a:solidFill>
                  <a:schemeClr val="bg1">
                    <a:lumMod val="85000"/>
                    <a:alpha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0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CB01D68-722E-0708-7BB4-AE9BC40F5589}"/>
              </a:ext>
            </a:extLst>
          </p:cNvPr>
          <p:cNvSpPr txBox="1"/>
          <p:nvPr/>
        </p:nvSpPr>
        <p:spPr>
          <a:xfrm>
            <a:off x="925105" y="1859041"/>
            <a:ext cx="2360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7200">
                <a:solidFill>
                  <a:schemeClr val="accent1"/>
                </a:solidFill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Another n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400" dirty="0">
                <a:solidFill>
                  <a:srgbClr val="FFFFFF"/>
                </a:solidFill>
                <a:latin typeface="Jura"/>
              </a:rPr>
              <a:t>Slide, wowz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3CA7297-A51D-3F0A-7063-F0531ABE8DB6}"/>
              </a:ext>
            </a:extLst>
          </p:cNvPr>
          <p:cNvGrpSpPr/>
          <p:nvPr/>
        </p:nvGrpSpPr>
        <p:grpSpPr>
          <a:xfrm>
            <a:off x="8476343" y="0"/>
            <a:ext cx="3718202" cy="2732009"/>
            <a:chOff x="7950200" y="0"/>
            <a:chExt cx="4244346" cy="3118602"/>
          </a:xfrm>
          <a:solidFill>
            <a:schemeClr val="bg1"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8F81AF3-D803-258D-0CCE-5521167D3703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9915177-83BF-D974-C709-FC3EC2E60D1C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715A45B-6D69-CBEA-2FB7-7890AA4D306D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DCD90E5-F22C-2D22-A1F7-3CCECD6A5F5F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6B577EB-FED2-5E4B-DD2E-C7EFFED800E7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0D67A41-46BC-2211-21B9-383630AAC560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05D9192-50E2-48AE-4051-E8CB8B4F4EEB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19160C8-8904-8A80-FA29-3099AFA2EC3B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338583B-71B3-9AE8-E53E-F570333A22CD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4E4FCB5-CB70-E1D6-4B48-3AE21FFC46F5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4C7304E-559A-D526-B585-65EAA4FF25A6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5662365-7B0B-7F6F-A793-C66BC03FB35D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619D892-9157-5534-D01E-DF1EDA266DB4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9835CE3-CFAE-3938-67FD-C919A052A66E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BA4ABB9-6016-0F21-9FA4-B728E1CD73AE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F413F1E-046C-290F-070B-6AF053123062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8563CFE-CB47-D93F-047E-679DAB919836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E3925EB-F55C-C96A-503C-899E423F1BED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720FEFFC-3871-ABC5-DD05-07B0AEBD5B70}"/>
              </a:ext>
            </a:extLst>
          </p:cNvPr>
          <p:cNvSpPr txBox="1"/>
          <p:nvPr/>
        </p:nvSpPr>
        <p:spPr>
          <a:xfrm>
            <a:off x="4950028" y="5341273"/>
            <a:ext cx="1808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Nice transitio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2642B0-1CC6-40FC-5187-EAA37C1D3672}"/>
              </a:ext>
            </a:extLst>
          </p:cNvPr>
          <p:cNvSpPr txBox="1"/>
          <p:nvPr/>
        </p:nvSpPr>
        <p:spPr>
          <a:xfrm>
            <a:off x="8840946" y="5341273"/>
            <a:ext cx="1689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Make it bett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355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Person typing on laptop">
            <a:extLst>
              <a:ext uri="{FF2B5EF4-FFF2-40B4-BE49-F238E27FC236}">
                <a16:creationId xmlns:a16="http://schemas.microsoft.com/office/drawing/2014/main" id="{D0BF43C1-E0F0-8533-5717-D79EE4044CC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01" b="28901"/>
          <a:stretch>
            <a:fillRect/>
          </a:stretch>
        </p:blipFill>
        <p:spPr/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DCCCA05-FB1C-33F2-AE6A-1536FD0A8F72}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5000"/>
                </a:schemeClr>
              </a:gs>
              <a:gs pos="35000">
                <a:schemeClr val="accent1">
                  <a:lumMod val="75000"/>
                  <a:alpha val="75000"/>
                </a:schemeClr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E903F9-7858-2667-C99A-C4F6C3FF1BD4}"/>
              </a:ext>
            </a:extLst>
          </p:cNvPr>
          <p:cNvCxnSpPr>
            <a:cxnSpLocks/>
          </p:cNvCxnSpPr>
          <p:nvPr/>
        </p:nvCxnSpPr>
        <p:spPr>
          <a:xfrm>
            <a:off x="5693288" y="5679827"/>
            <a:ext cx="1554092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4325E8B-6F3A-6209-1E60-C9EBF118A253}"/>
              </a:ext>
            </a:extLst>
          </p:cNvPr>
          <p:cNvCxnSpPr>
            <a:cxnSpLocks/>
          </p:cNvCxnSpPr>
          <p:nvPr/>
        </p:nvCxnSpPr>
        <p:spPr>
          <a:xfrm>
            <a:off x="9546442" y="5679827"/>
            <a:ext cx="1550364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Placeholder 44" descr="A person sitting in an airplane seat using a laptop computer">
            <a:extLst>
              <a:ext uri="{FF2B5EF4-FFF2-40B4-BE49-F238E27FC236}">
                <a16:creationId xmlns:a16="http://schemas.microsoft.com/office/drawing/2014/main" id="{4EE55824-DBB0-02B2-FA23-46D1EA6406E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2" r="16682"/>
          <a:stretch>
            <a:fillRect/>
          </a:stretch>
        </p:blipFill>
        <p:spPr/>
      </p:pic>
      <p:pic>
        <p:nvPicPr>
          <p:cNvPr id="43" name="Picture Placeholder 42" descr="Red ad gree bar graphs and numbers above the city skyline">
            <a:extLst>
              <a:ext uri="{FF2B5EF4-FFF2-40B4-BE49-F238E27FC236}">
                <a16:creationId xmlns:a16="http://schemas.microsoft.com/office/drawing/2014/main" id="{12D6F3C0-E470-A8A7-80FF-C57A41AE3DA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2" r="13072"/>
          <a:stretch>
            <a:fillRect/>
          </a:stretch>
        </p:blipFill>
        <p:spPr/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4BB2C5D-5C4A-BB47-11EC-3F1B8F4B1F89}"/>
              </a:ext>
            </a:extLst>
          </p:cNvPr>
          <p:cNvSpPr txBox="1"/>
          <p:nvPr/>
        </p:nvSpPr>
        <p:spPr>
          <a:xfrm>
            <a:off x="475423" y="1276094"/>
            <a:ext cx="14354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6600" b="1">
                <a:solidFill>
                  <a:schemeClr val="bg1">
                    <a:lumMod val="85000"/>
                    <a:alpha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0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3A7D99-B248-10C6-E85F-CA00D7B91465}"/>
              </a:ext>
            </a:extLst>
          </p:cNvPr>
          <p:cNvSpPr txBox="1"/>
          <p:nvPr/>
        </p:nvSpPr>
        <p:spPr>
          <a:xfrm>
            <a:off x="925105" y="1859041"/>
            <a:ext cx="2360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7200">
                <a:solidFill>
                  <a:schemeClr val="accent1"/>
                </a:solidFill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Another n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400" dirty="0">
                <a:solidFill>
                  <a:srgbClr val="FFFFFF"/>
                </a:solidFill>
                <a:latin typeface="Jura"/>
              </a:rPr>
              <a:t>Slide, wowz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7F8D88-A3F1-36DB-D54E-B81289DDE9BC}"/>
              </a:ext>
            </a:extLst>
          </p:cNvPr>
          <p:cNvGrpSpPr/>
          <p:nvPr/>
        </p:nvGrpSpPr>
        <p:grpSpPr>
          <a:xfrm>
            <a:off x="8476343" y="0"/>
            <a:ext cx="3718202" cy="2732009"/>
            <a:chOff x="7950200" y="0"/>
            <a:chExt cx="4244346" cy="3118602"/>
          </a:xfrm>
          <a:solidFill>
            <a:schemeClr val="bg1"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825C2C8-4AFD-C413-24D4-9BAADDA0F719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9D0ACA-C0B1-57F7-A640-025F956AA6FA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7DF0E96-D34C-A1CD-454C-17753E6EFE48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0DF023F-C632-5CAC-C123-D43C6F2EFCCB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24F4AB7-F632-A0BA-1AEE-65EE35DA1608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67E84A9-82A8-A434-795B-B2D0D94C2860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C8C6845-D663-90E8-1984-805AD83B301C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E8D0C2C-DDCD-9FB5-FB3E-B5670F288B46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3486A2A-EE74-D829-12C9-EE0B9BAA8B05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ABF05BD-73B8-12CD-3D13-F3083E882031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6B534F4-025D-4066-9F53-5184CCDE5A57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3E60DC9-159D-ECB0-F0A3-0C831F9B9F93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5F2F3FE-174B-55BE-FDCF-0AC424115232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9939980-9B84-A2FF-F220-20FF1F811797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87F6299-9530-F184-18A8-E3096917FBB3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514A23A-02ED-1FEB-9A9C-0591A2EB331E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475B77A-6772-D7EC-E60C-7C18D90B8A32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F3E2146-753D-9983-B8DA-86D04B43F176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9EF9AEE-AB54-C455-2B99-6086A07C8AEA}"/>
              </a:ext>
            </a:extLst>
          </p:cNvPr>
          <p:cNvSpPr txBox="1"/>
          <p:nvPr/>
        </p:nvSpPr>
        <p:spPr>
          <a:xfrm>
            <a:off x="4950028" y="5341273"/>
            <a:ext cx="1808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Nice transitio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A71462-1A13-6BDB-BA19-9F81006A92B2}"/>
              </a:ext>
            </a:extLst>
          </p:cNvPr>
          <p:cNvSpPr txBox="1"/>
          <p:nvPr/>
        </p:nvSpPr>
        <p:spPr>
          <a:xfrm>
            <a:off x="8840946" y="5341273"/>
            <a:ext cx="1689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Make it bett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352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F9A6C-33A9-9EE7-EC1D-B1A4AB905F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uman eye seen through transparent digital chart">
            <a:extLst>
              <a:ext uri="{FF2B5EF4-FFF2-40B4-BE49-F238E27FC236}">
                <a16:creationId xmlns:a16="http://schemas.microsoft.com/office/drawing/2014/main" id="{CDBB906D-EADB-A452-3D89-A8267006554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" b="1924"/>
          <a:stretch>
            <a:fillRect/>
          </a:stretch>
        </p:blipFill>
        <p:spPr/>
      </p:pic>
      <p:pic>
        <p:nvPicPr>
          <p:cNvPr id="11" name="Picture Placeholder 10" descr="Astronaut in a spacesuit in a white futuristic tunnel">
            <a:extLst>
              <a:ext uri="{FF2B5EF4-FFF2-40B4-BE49-F238E27FC236}">
                <a16:creationId xmlns:a16="http://schemas.microsoft.com/office/drawing/2014/main" id="{729449C0-8CFD-DD5E-37CF-74853848B7E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0" r="17280"/>
          <a:stretch>
            <a:fillRect/>
          </a:stretch>
        </p:blipFill>
        <p:spPr/>
      </p:pic>
      <p:pic>
        <p:nvPicPr>
          <p:cNvPr id="13" name="Picture Placeholder 12" descr="Car made of green leaves disappearing">
            <a:extLst>
              <a:ext uri="{FF2B5EF4-FFF2-40B4-BE49-F238E27FC236}">
                <a16:creationId xmlns:a16="http://schemas.microsoft.com/office/drawing/2014/main" id="{36740409-1E28-04F8-8BE5-3ADC6AE1423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55" b="10755"/>
          <a:stretch>
            <a:fillRect/>
          </a:stretch>
        </p:blipFill>
        <p:spPr/>
      </p:pic>
      <p:pic>
        <p:nvPicPr>
          <p:cNvPr id="15" name="Picture Placeholder 14" descr="Businesswoman looking out of window">
            <a:extLst>
              <a:ext uri="{FF2B5EF4-FFF2-40B4-BE49-F238E27FC236}">
                <a16:creationId xmlns:a16="http://schemas.microsoft.com/office/drawing/2014/main" id="{15AE834C-8468-89A7-3C99-FE5C4CF4C70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r="17233"/>
          <a:stretch>
            <a:fillRect/>
          </a:stretch>
        </p:blipFill>
        <p:spPr/>
      </p:pic>
      <p:pic>
        <p:nvPicPr>
          <p:cNvPr id="17" name="Picture Placeholder 16" descr="Person examining prototype">
            <a:extLst>
              <a:ext uri="{FF2B5EF4-FFF2-40B4-BE49-F238E27FC236}">
                <a16:creationId xmlns:a16="http://schemas.microsoft.com/office/drawing/2014/main" id="{2546289D-E566-5ADD-9A06-E6DC16477D6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96" r="24496"/>
          <a:stretch>
            <a:fillRect/>
          </a:stretch>
        </p:blipFill>
        <p:spPr/>
      </p:pic>
      <p:pic>
        <p:nvPicPr>
          <p:cNvPr id="19" name="Picture Placeholder 18" descr="3D face graphic">
            <a:extLst>
              <a:ext uri="{FF2B5EF4-FFF2-40B4-BE49-F238E27FC236}">
                <a16:creationId xmlns:a16="http://schemas.microsoft.com/office/drawing/2014/main" id="{C6CDC3B7-351F-1601-2C87-4A3563C41C0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6" b="6226"/>
          <a:stretch>
            <a:fillRect/>
          </a:stretch>
        </p:blipFill>
        <p:spPr/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81E5C33-1EF3-DB9A-3AF7-2C616A1E0E7B}"/>
              </a:ext>
            </a:extLst>
          </p:cNvPr>
          <p:cNvGrpSpPr/>
          <p:nvPr/>
        </p:nvGrpSpPr>
        <p:grpSpPr>
          <a:xfrm>
            <a:off x="3181851" y="3489203"/>
            <a:ext cx="5828298" cy="1287192"/>
            <a:chOff x="3035300" y="3581400"/>
            <a:chExt cx="6121400" cy="135192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BEE84A8-7F0B-D8F7-3BEC-1AF923735BC0}"/>
                </a:ext>
              </a:extLst>
            </p:cNvPr>
            <p:cNvSpPr/>
            <p:nvPr/>
          </p:nvSpPr>
          <p:spPr>
            <a:xfrm>
              <a:off x="3035300" y="3581400"/>
              <a:ext cx="6121400" cy="1351924"/>
            </a:xfrm>
            <a:prstGeom prst="rect">
              <a:avLst/>
            </a:prstGeom>
            <a:solidFill>
              <a:schemeClr val="accent1">
                <a:alpha val="95000"/>
              </a:schemeClr>
            </a:solidFill>
            <a:ln>
              <a:noFill/>
            </a:ln>
            <a:effectLst>
              <a:outerShdw blurRad="431800" sx="106000" sy="106000" algn="ctr" rotWithShape="0">
                <a:prstClr val="black">
                  <a:alpha val="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5B57CB0-3058-02FD-920B-678E31F74AAB}"/>
                </a:ext>
              </a:extLst>
            </p:cNvPr>
            <p:cNvSpPr txBox="1"/>
            <p:nvPr/>
          </p:nvSpPr>
          <p:spPr>
            <a:xfrm>
              <a:off x="3225800" y="3929597"/>
              <a:ext cx="574040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5400" b="1" dirty="0">
                  <a:solidFill>
                    <a:srgbClr val="FFFFFF"/>
                  </a:solidFill>
                  <a:latin typeface="Jura"/>
                  <a:ea typeface="Roboto" panose="02000000000000000000" pitchFamily="2" charset="0"/>
                </a:rPr>
                <a:t>Future is now</a:t>
              </a:r>
              <a:endPara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Roboto" panose="02000000000000000000" pitchFamily="2" charset="0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2024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9173A3-5B00-1150-08F0-48AF07D95B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Person typing on laptop">
            <a:extLst>
              <a:ext uri="{FF2B5EF4-FFF2-40B4-BE49-F238E27FC236}">
                <a16:creationId xmlns:a16="http://schemas.microsoft.com/office/drawing/2014/main" id="{BC51CD3F-2B31-048C-7072-B04C2D1501F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01" b="28901"/>
          <a:stretch>
            <a:fillRect/>
          </a:stretch>
        </p:blipFill>
        <p:spPr/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D6A4305-92C6-B2B8-7D40-8F5F063994C2}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5000"/>
                </a:schemeClr>
              </a:gs>
              <a:gs pos="35000">
                <a:schemeClr val="accent1">
                  <a:lumMod val="75000"/>
                  <a:alpha val="75000"/>
                </a:schemeClr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B453067-F6CC-0B9E-81F8-CDBD9FF3E58B}"/>
              </a:ext>
            </a:extLst>
          </p:cNvPr>
          <p:cNvCxnSpPr>
            <a:cxnSpLocks/>
          </p:cNvCxnSpPr>
          <p:nvPr/>
        </p:nvCxnSpPr>
        <p:spPr>
          <a:xfrm>
            <a:off x="5693288" y="5679827"/>
            <a:ext cx="1554092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EA19AFB-932B-E5C9-197D-6940A60F2C66}"/>
              </a:ext>
            </a:extLst>
          </p:cNvPr>
          <p:cNvCxnSpPr>
            <a:cxnSpLocks/>
          </p:cNvCxnSpPr>
          <p:nvPr/>
        </p:nvCxnSpPr>
        <p:spPr>
          <a:xfrm>
            <a:off x="9546442" y="5679827"/>
            <a:ext cx="1550364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Placeholder 44" descr="A person sitting in an airplane seat using a laptop computer">
            <a:extLst>
              <a:ext uri="{FF2B5EF4-FFF2-40B4-BE49-F238E27FC236}">
                <a16:creationId xmlns:a16="http://schemas.microsoft.com/office/drawing/2014/main" id="{40F28A39-FB3D-B232-DAD0-F5A113A2245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2" r="16682"/>
          <a:stretch>
            <a:fillRect/>
          </a:stretch>
        </p:blipFill>
        <p:spPr/>
      </p:pic>
      <p:pic>
        <p:nvPicPr>
          <p:cNvPr id="43" name="Picture Placeholder 42" descr="Red ad gree bar graphs and numbers above the city skyline">
            <a:extLst>
              <a:ext uri="{FF2B5EF4-FFF2-40B4-BE49-F238E27FC236}">
                <a16:creationId xmlns:a16="http://schemas.microsoft.com/office/drawing/2014/main" id="{FF60E78A-492D-14C4-CA83-18D8F8821C2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2" r="13072"/>
          <a:stretch>
            <a:fillRect/>
          </a:stretch>
        </p:blipFill>
        <p:spPr/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460040-367D-68F0-6510-943E97F09FE0}"/>
              </a:ext>
            </a:extLst>
          </p:cNvPr>
          <p:cNvSpPr txBox="1"/>
          <p:nvPr/>
        </p:nvSpPr>
        <p:spPr>
          <a:xfrm>
            <a:off x="475423" y="1276094"/>
            <a:ext cx="14354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6600" b="1">
                <a:solidFill>
                  <a:schemeClr val="bg1">
                    <a:lumMod val="85000"/>
                    <a:alpha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0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48177A-5B6D-52CF-B715-38DE4E60A301}"/>
              </a:ext>
            </a:extLst>
          </p:cNvPr>
          <p:cNvSpPr txBox="1"/>
          <p:nvPr/>
        </p:nvSpPr>
        <p:spPr>
          <a:xfrm>
            <a:off x="925105" y="1859041"/>
            <a:ext cx="2360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7200">
                <a:solidFill>
                  <a:schemeClr val="accent1"/>
                </a:solidFill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Another n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400" dirty="0">
                <a:solidFill>
                  <a:srgbClr val="FFFFFF"/>
                </a:solidFill>
                <a:latin typeface="Jura"/>
              </a:rPr>
              <a:t>Slide, wowz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9230D30-E259-C5DE-4560-98771BD4749E}"/>
              </a:ext>
            </a:extLst>
          </p:cNvPr>
          <p:cNvGrpSpPr/>
          <p:nvPr/>
        </p:nvGrpSpPr>
        <p:grpSpPr>
          <a:xfrm>
            <a:off x="8476343" y="0"/>
            <a:ext cx="3718202" cy="2732009"/>
            <a:chOff x="7950200" y="0"/>
            <a:chExt cx="4244346" cy="3118602"/>
          </a:xfrm>
          <a:solidFill>
            <a:schemeClr val="bg1"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DBB8698-1918-D09A-B991-CFE913C69860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7B815E7-BA81-BC02-9C82-4FEFE90D24E0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AE53E83-0B97-5F12-6CB9-26997002FEB2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2137D7D-F4E9-876E-17B6-A3D1D71AA6C0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015B784-F46E-06D1-1985-503F81C28D57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C371C9D-1DB3-7D37-D419-7A24558C609C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F34EC30-40C0-683D-844B-5E4A13EDF8E1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0C236BD-FB92-B104-FB75-74E966F3FB15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568C8A4-53C5-50CF-A7F4-F221634DAC76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2A374FC-EC99-80AC-8D53-58037DD63BAF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BC1A1C1-45E6-C842-C348-05D2575C2AA6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E5C0ABB-2544-D85D-EE32-40A7CD96914A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DAED509-D54B-870B-22DB-E4358AE08852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37E7606-3FA9-76BB-8981-85183866E122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AD1D306-68DE-964A-78B7-167EEE5F3E4B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A693A2B-202B-E811-020B-7865F3A69D0F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7B2E9B3-4985-C4E6-A66D-06D3DD50C5FF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499F2B85-0EF6-750A-1EAD-8CA5B58C430D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3E4CE31-9C49-45C1-0A5A-6C0F86682324}"/>
              </a:ext>
            </a:extLst>
          </p:cNvPr>
          <p:cNvSpPr txBox="1"/>
          <p:nvPr/>
        </p:nvSpPr>
        <p:spPr>
          <a:xfrm>
            <a:off x="4950028" y="5341273"/>
            <a:ext cx="1808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Nice transitio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BC1CB7-E12E-52DE-14D0-8007239D5D84}"/>
              </a:ext>
            </a:extLst>
          </p:cNvPr>
          <p:cNvSpPr txBox="1"/>
          <p:nvPr/>
        </p:nvSpPr>
        <p:spPr>
          <a:xfrm>
            <a:off x="8840946" y="5341273"/>
            <a:ext cx="1689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Make it bett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986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5E82FF-3BB3-C8A8-C80F-162D8EF2C7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uman eye seen through transparent digital chart">
            <a:extLst>
              <a:ext uri="{FF2B5EF4-FFF2-40B4-BE49-F238E27FC236}">
                <a16:creationId xmlns:a16="http://schemas.microsoft.com/office/drawing/2014/main" id="{3A7CF460-14B4-6719-A199-61499A3958E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" b="1924"/>
          <a:stretch>
            <a:fillRect/>
          </a:stretch>
        </p:blipFill>
        <p:spPr/>
      </p:pic>
      <p:pic>
        <p:nvPicPr>
          <p:cNvPr id="11" name="Picture Placeholder 10" descr="Astronaut in a spacesuit in a white futuristic tunnel">
            <a:extLst>
              <a:ext uri="{FF2B5EF4-FFF2-40B4-BE49-F238E27FC236}">
                <a16:creationId xmlns:a16="http://schemas.microsoft.com/office/drawing/2014/main" id="{C53E2B7C-632B-2E01-5B13-4C7FD7D3736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0" r="17280"/>
          <a:stretch>
            <a:fillRect/>
          </a:stretch>
        </p:blipFill>
        <p:spPr/>
      </p:pic>
      <p:pic>
        <p:nvPicPr>
          <p:cNvPr id="13" name="Picture Placeholder 12" descr="Car made of green leaves disappearing">
            <a:extLst>
              <a:ext uri="{FF2B5EF4-FFF2-40B4-BE49-F238E27FC236}">
                <a16:creationId xmlns:a16="http://schemas.microsoft.com/office/drawing/2014/main" id="{A1FBF0F4-05D6-E6B3-9405-27F74BF491A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55" b="10755"/>
          <a:stretch>
            <a:fillRect/>
          </a:stretch>
        </p:blipFill>
        <p:spPr/>
      </p:pic>
      <p:pic>
        <p:nvPicPr>
          <p:cNvPr id="15" name="Picture Placeholder 14" descr="Businesswoman looking out of window">
            <a:extLst>
              <a:ext uri="{FF2B5EF4-FFF2-40B4-BE49-F238E27FC236}">
                <a16:creationId xmlns:a16="http://schemas.microsoft.com/office/drawing/2014/main" id="{1BBD062A-5352-2260-2353-B7F5DDDE162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r="17233"/>
          <a:stretch>
            <a:fillRect/>
          </a:stretch>
        </p:blipFill>
        <p:spPr/>
      </p:pic>
      <p:pic>
        <p:nvPicPr>
          <p:cNvPr id="17" name="Picture Placeholder 16" descr="Person examining prototype">
            <a:extLst>
              <a:ext uri="{FF2B5EF4-FFF2-40B4-BE49-F238E27FC236}">
                <a16:creationId xmlns:a16="http://schemas.microsoft.com/office/drawing/2014/main" id="{39AAD533-01EC-0753-A8F6-56B8F868E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96" r="24496"/>
          <a:stretch>
            <a:fillRect/>
          </a:stretch>
        </p:blipFill>
        <p:spPr/>
      </p:pic>
      <p:pic>
        <p:nvPicPr>
          <p:cNvPr id="19" name="Picture Placeholder 18" descr="3D face graphic">
            <a:extLst>
              <a:ext uri="{FF2B5EF4-FFF2-40B4-BE49-F238E27FC236}">
                <a16:creationId xmlns:a16="http://schemas.microsoft.com/office/drawing/2014/main" id="{F7063D87-0B9F-25C3-A583-8744B249B9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6" b="6226"/>
          <a:stretch>
            <a:fillRect/>
          </a:stretch>
        </p:blipFill>
        <p:spPr/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0F353D6-95F0-83A1-317C-B72781870815}"/>
              </a:ext>
            </a:extLst>
          </p:cNvPr>
          <p:cNvGrpSpPr/>
          <p:nvPr/>
        </p:nvGrpSpPr>
        <p:grpSpPr>
          <a:xfrm>
            <a:off x="3181851" y="3489203"/>
            <a:ext cx="5828298" cy="1287192"/>
            <a:chOff x="3035300" y="3581400"/>
            <a:chExt cx="6121400" cy="135192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0C0995A-A1CD-2177-6E15-EE7195435401}"/>
                </a:ext>
              </a:extLst>
            </p:cNvPr>
            <p:cNvSpPr/>
            <p:nvPr/>
          </p:nvSpPr>
          <p:spPr>
            <a:xfrm>
              <a:off x="3035300" y="3581400"/>
              <a:ext cx="6121400" cy="1351924"/>
            </a:xfrm>
            <a:prstGeom prst="rect">
              <a:avLst/>
            </a:prstGeom>
            <a:solidFill>
              <a:schemeClr val="accent1">
                <a:alpha val="95000"/>
              </a:schemeClr>
            </a:solidFill>
            <a:ln>
              <a:noFill/>
            </a:ln>
            <a:effectLst>
              <a:outerShdw blurRad="431800" sx="106000" sy="106000" algn="ctr" rotWithShape="0">
                <a:prstClr val="black">
                  <a:alpha val="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FE4D579-EFEC-3671-374C-C19577A0E60D}"/>
                </a:ext>
              </a:extLst>
            </p:cNvPr>
            <p:cNvSpPr txBox="1"/>
            <p:nvPr/>
          </p:nvSpPr>
          <p:spPr>
            <a:xfrm>
              <a:off x="3225800" y="3929597"/>
              <a:ext cx="574040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5400" b="1" dirty="0">
                  <a:solidFill>
                    <a:srgbClr val="FFFFFF"/>
                  </a:solidFill>
                  <a:latin typeface="Jura"/>
                  <a:ea typeface="Roboto" panose="02000000000000000000" pitchFamily="2" charset="0"/>
                </a:rPr>
                <a:t>Future is now</a:t>
              </a:r>
              <a:endPara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Roboto" panose="02000000000000000000" pitchFamily="2" charset="0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479678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6500D9-DBFE-DF4B-6408-E9ACDF99F0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Person typing on laptop">
            <a:extLst>
              <a:ext uri="{FF2B5EF4-FFF2-40B4-BE49-F238E27FC236}">
                <a16:creationId xmlns:a16="http://schemas.microsoft.com/office/drawing/2014/main" id="{8785C777-A4C7-3B1C-563C-876B432A112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01" b="28901"/>
          <a:stretch>
            <a:fillRect/>
          </a:stretch>
        </p:blipFill>
        <p:spPr/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30C6AF9-375D-63D2-13EA-8D4B3F8A3E1F}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5000"/>
                </a:schemeClr>
              </a:gs>
              <a:gs pos="35000">
                <a:schemeClr val="accent1">
                  <a:lumMod val="75000"/>
                  <a:alpha val="75000"/>
                </a:schemeClr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4CB9B2A-5B94-52B9-1158-2F2D0FAF28B2}"/>
              </a:ext>
            </a:extLst>
          </p:cNvPr>
          <p:cNvCxnSpPr>
            <a:cxnSpLocks/>
          </p:cNvCxnSpPr>
          <p:nvPr/>
        </p:nvCxnSpPr>
        <p:spPr>
          <a:xfrm>
            <a:off x="5693288" y="5679827"/>
            <a:ext cx="1554092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473C76D-07F7-C6E4-378B-879977680C59}"/>
              </a:ext>
            </a:extLst>
          </p:cNvPr>
          <p:cNvCxnSpPr>
            <a:cxnSpLocks/>
          </p:cNvCxnSpPr>
          <p:nvPr/>
        </p:nvCxnSpPr>
        <p:spPr>
          <a:xfrm>
            <a:off x="9546442" y="5679827"/>
            <a:ext cx="1550364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Placeholder 44" descr="A person sitting in an airplane seat using a laptop computer">
            <a:extLst>
              <a:ext uri="{FF2B5EF4-FFF2-40B4-BE49-F238E27FC236}">
                <a16:creationId xmlns:a16="http://schemas.microsoft.com/office/drawing/2014/main" id="{6AB06293-1043-5098-4672-890AD0F3AE3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2" r="16682"/>
          <a:stretch>
            <a:fillRect/>
          </a:stretch>
        </p:blipFill>
        <p:spPr/>
      </p:pic>
      <p:pic>
        <p:nvPicPr>
          <p:cNvPr id="43" name="Picture Placeholder 42" descr="Red ad gree bar graphs and numbers above the city skyline">
            <a:extLst>
              <a:ext uri="{FF2B5EF4-FFF2-40B4-BE49-F238E27FC236}">
                <a16:creationId xmlns:a16="http://schemas.microsoft.com/office/drawing/2014/main" id="{86470982-3662-6CC4-5DA2-9A4A35EE339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2" r="13072"/>
          <a:stretch>
            <a:fillRect/>
          </a:stretch>
        </p:blipFill>
        <p:spPr/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543A60-BC9E-656E-E94C-169B6A2C0345}"/>
              </a:ext>
            </a:extLst>
          </p:cNvPr>
          <p:cNvSpPr txBox="1"/>
          <p:nvPr/>
        </p:nvSpPr>
        <p:spPr>
          <a:xfrm>
            <a:off x="475423" y="1276094"/>
            <a:ext cx="14354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6600" b="1">
                <a:solidFill>
                  <a:schemeClr val="bg1">
                    <a:lumMod val="85000"/>
                    <a:alpha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0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C419CF6-42F3-B8D2-CFE6-F32A291F370B}"/>
              </a:ext>
            </a:extLst>
          </p:cNvPr>
          <p:cNvSpPr txBox="1"/>
          <p:nvPr/>
        </p:nvSpPr>
        <p:spPr>
          <a:xfrm>
            <a:off x="925105" y="1859041"/>
            <a:ext cx="2360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7200">
                <a:solidFill>
                  <a:schemeClr val="accent1"/>
                </a:solidFill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Another n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400" dirty="0">
                <a:solidFill>
                  <a:srgbClr val="FFFFFF"/>
                </a:solidFill>
                <a:latin typeface="Jura"/>
              </a:rPr>
              <a:t>Slide, wowz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35E0CF3-3C99-2C8F-4D54-40E8F5E5945F}"/>
              </a:ext>
            </a:extLst>
          </p:cNvPr>
          <p:cNvGrpSpPr/>
          <p:nvPr/>
        </p:nvGrpSpPr>
        <p:grpSpPr>
          <a:xfrm>
            <a:off x="8476343" y="0"/>
            <a:ext cx="3718202" cy="2732009"/>
            <a:chOff x="7950200" y="0"/>
            <a:chExt cx="4244346" cy="3118602"/>
          </a:xfrm>
          <a:solidFill>
            <a:schemeClr val="bg1"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EA6589-2B8B-DDE5-E43F-A4BFD6057889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067E296-2185-EF31-75E6-64C83539B1E2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7CAC37C-EB02-7A4C-CC72-E7A825480C7B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7C34524-9A22-3200-467B-372919EF3ABC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6F29213-269C-2457-5E89-55EA8571F34E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20319E3-85C2-890D-CC3E-45A391AEED8C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A72803B-E24A-D880-8230-3D79B735194E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E9E41D4-6AEF-7D01-13E2-A534017A4D11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DEF31BE-BA4A-7EDA-21F9-C776F3D22D3E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40696E0-F46C-D091-7EC5-B6B71BC36B62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83AD8ED-0178-DEE0-61B8-9C0DF6AA3278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471C44F-AEE0-4683-C1CA-951DE9FB8FC6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C6C40FA-18C7-361F-DA67-2F6A6CEDF20A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67206A7-70C6-AF5B-AD57-40FC2C9AA010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2EA5A15-6663-4EF3-F7D5-26BA8E41A59A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07586D7-9AD7-7D2D-0734-CA9AB8416970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2CC5EC5-655C-77C9-575F-1EF6E3F9015C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EC1F8-DAEA-037E-A1C4-A3C1D9704146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6006165-25E2-4B07-C763-D5EF746A2B88}"/>
              </a:ext>
            </a:extLst>
          </p:cNvPr>
          <p:cNvSpPr txBox="1"/>
          <p:nvPr/>
        </p:nvSpPr>
        <p:spPr>
          <a:xfrm>
            <a:off x="4950028" y="5341273"/>
            <a:ext cx="1808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Nice transitio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4838CD-51FA-2ED8-6D3A-1A9710F4E4AF}"/>
              </a:ext>
            </a:extLst>
          </p:cNvPr>
          <p:cNvSpPr txBox="1"/>
          <p:nvPr/>
        </p:nvSpPr>
        <p:spPr>
          <a:xfrm>
            <a:off x="8840946" y="5341273"/>
            <a:ext cx="1689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Make it bett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4534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uman eye seen through transparent digital chart">
            <a:extLst>
              <a:ext uri="{FF2B5EF4-FFF2-40B4-BE49-F238E27FC236}">
                <a16:creationId xmlns:a16="http://schemas.microsoft.com/office/drawing/2014/main" id="{DD25E757-38E6-5925-211D-7FE66C95AA7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" b="1924"/>
          <a:stretch>
            <a:fillRect/>
          </a:stretch>
        </p:blipFill>
        <p:spPr/>
      </p:pic>
      <p:pic>
        <p:nvPicPr>
          <p:cNvPr id="11" name="Picture Placeholder 10" descr="Astronaut in a spacesuit in a white futuristic tunnel">
            <a:extLst>
              <a:ext uri="{FF2B5EF4-FFF2-40B4-BE49-F238E27FC236}">
                <a16:creationId xmlns:a16="http://schemas.microsoft.com/office/drawing/2014/main" id="{8E5ECD85-02F8-3705-BCB1-5B2339723E9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0" r="17280"/>
          <a:stretch>
            <a:fillRect/>
          </a:stretch>
        </p:blipFill>
        <p:spPr/>
      </p:pic>
      <p:pic>
        <p:nvPicPr>
          <p:cNvPr id="13" name="Picture Placeholder 12" descr="Car made of green leaves disappearing">
            <a:extLst>
              <a:ext uri="{FF2B5EF4-FFF2-40B4-BE49-F238E27FC236}">
                <a16:creationId xmlns:a16="http://schemas.microsoft.com/office/drawing/2014/main" id="{E3AFE0A7-3E9B-C32D-48A1-8D5F108CFA2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55" b="10755"/>
          <a:stretch>
            <a:fillRect/>
          </a:stretch>
        </p:blipFill>
        <p:spPr/>
      </p:pic>
      <p:pic>
        <p:nvPicPr>
          <p:cNvPr id="15" name="Picture Placeholder 14" descr="Businesswoman looking out of window">
            <a:extLst>
              <a:ext uri="{FF2B5EF4-FFF2-40B4-BE49-F238E27FC236}">
                <a16:creationId xmlns:a16="http://schemas.microsoft.com/office/drawing/2014/main" id="{D6B995CA-EE77-B250-04C6-DF5E27D95E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r="17233"/>
          <a:stretch>
            <a:fillRect/>
          </a:stretch>
        </p:blipFill>
        <p:spPr/>
      </p:pic>
      <p:pic>
        <p:nvPicPr>
          <p:cNvPr id="17" name="Picture Placeholder 16" descr="Person examining prototype">
            <a:extLst>
              <a:ext uri="{FF2B5EF4-FFF2-40B4-BE49-F238E27FC236}">
                <a16:creationId xmlns:a16="http://schemas.microsoft.com/office/drawing/2014/main" id="{7F5D5AF9-F2F7-631B-35EF-17C00808C3C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96" r="24496"/>
          <a:stretch>
            <a:fillRect/>
          </a:stretch>
        </p:blipFill>
        <p:spPr/>
      </p:pic>
      <p:pic>
        <p:nvPicPr>
          <p:cNvPr id="19" name="Picture Placeholder 18" descr="3D face graphic">
            <a:extLst>
              <a:ext uri="{FF2B5EF4-FFF2-40B4-BE49-F238E27FC236}">
                <a16:creationId xmlns:a16="http://schemas.microsoft.com/office/drawing/2014/main" id="{D90C7C37-408D-E018-AF15-083127F5DCC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6" b="6226"/>
          <a:stretch>
            <a:fillRect/>
          </a:stretch>
        </p:blipFill>
        <p:spPr/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28ED0295-32D0-58F6-9515-BD78E2509F40}"/>
              </a:ext>
            </a:extLst>
          </p:cNvPr>
          <p:cNvGrpSpPr/>
          <p:nvPr/>
        </p:nvGrpSpPr>
        <p:grpSpPr>
          <a:xfrm>
            <a:off x="3181851" y="3489203"/>
            <a:ext cx="5828298" cy="1287192"/>
            <a:chOff x="3035300" y="3581400"/>
            <a:chExt cx="6121400" cy="135192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B267851-0CC7-F24E-D0B7-2A362DCEBD62}"/>
                </a:ext>
              </a:extLst>
            </p:cNvPr>
            <p:cNvSpPr/>
            <p:nvPr/>
          </p:nvSpPr>
          <p:spPr>
            <a:xfrm>
              <a:off x="3035300" y="3581400"/>
              <a:ext cx="6121400" cy="1351924"/>
            </a:xfrm>
            <a:prstGeom prst="rect">
              <a:avLst/>
            </a:prstGeom>
            <a:solidFill>
              <a:schemeClr val="accent1">
                <a:alpha val="95000"/>
              </a:schemeClr>
            </a:solidFill>
            <a:ln>
              <a:noFill/>
            </a:ln>
            <a:effectLst>
              <a:outerShdw blurRad="431800" sx="106000" sy="106000" algn="ctr" rotWithShape="0">
                <a:prstClr val="black">
                  <a:alpha val="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C7D910B-0781-47BB-5F93-C995962954AD}"/>
                </a:ext>
              </a:extLst>
            </p:cNvPr>
            <p:cNvSpPr txBox="1"/>
            <p:nvPr/>
          </p:nvSpPr>
          <p:spPr>
            <a:xfrm>
              <a:off x="3225800" y="3929597"/>
              <a:ext cx="574040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5400" b="1" dirty="0">
                  <a:solidFill>
                    <a:srgbClr val="FFFFFF"/>
                  </a:solidFill>
                  <a:latin typeface="Jura"/>
                  <a:ea typeface="Roboto" panose="02000000000000000000" pitchFamily="2" charset="0"/>
                </a:rPr>
                <a:t>Future is now</a:t>
              </a:r>
              <a:endPara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Roboto" panose="02000000000000000000" pitchFamily="2" charset="0"/>
                <a:cs typeface="+mn-cs"/>
              </a:endParaRPr>
            </a:p>
          </p:txBody>
        </p:sp>
      </p:grpSp>
      <p:sp>
        <p:nvSpPr>
          <p:cNvPr id="23" name="Grey">
            <a:extLst>
              <a:ext uri="{FF2B5EF4-FFF2-40B4-BE49-F238E27FC236}">
                <a16:creationId xmlns:a16="http://schemas.microsoft.com/office/drawing/2014/main" id="{C320E14B-C074-147E-E949-895F984400AA}"/>
              </a:ext>
            </a:extLst>
          </p:cNvPr>
          <p:cNvSpPr/>
          <p:nvPr/>
        </p:nvSpPr>
        <p:spPr>
          <a:xfrm>
            <a:off x="0" y="-6902572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White">
            <a:extLst>
              <a:ext uri="{FF2B5EF4-FFF2-40B4-BE49-F238E27FC236}">
                <a16:creationId xmlns:a16="http://schemas.microsoft.com/office/drawing/2014/main" id="{A4BE9FB4-633A-D3D8-DD86-2B5C7DCC41E0}"/>
              </a:ext>
            </a:extLst>
          </p:cNvPr>
          <p:cNvSpPr/>
          <p:nvPr/>
        </p:nvSpPr>
        <p:spPr>
          <a:xfrm>
            <a:off x="0" y="-6902572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Picture">
            <a:extLst>
              <a:ext uri="{FF2B5EF4-FFF2-40B4-BE49-F238E27FC236}">
                <a16:creationId xmlns:a16="http://schemas.microsoft.com/office/drawing/2014/main" id="{16941E96-94EB-A125-7827-0ED614328D3A}"/>
              </a:ext>
            </a:extLst>
          </p:cNvPr>
          <p:cNvGrpSpPr/>
          <p:nvPr/>
        </p:nvGrpSpPr>
        <p:grpSpPr>
          <a:xfrm>
            <a:off x="0" y="-6902572"/>
            <a:ext cx="12192000" cy="3429000"/>
            <a:chOff x="0" y="-6902572"/>
            <a:chExt cx="12192000" cy="3429000"/>
          </a:xfrm>
        </p:grpSpPr>
        <p:pic>
          <p:nvPicPr>
            <p:cNvPr id="21" name="Picture Placeholder 12" descr="Person typing on laptop">
              <a:extLst>
                <a:ext uri="{FF2B5EF4-FFF2-40B4-BE49-F238E27FC236}">
                  <a16:creationId xmlns:a16="http://schemas.microsoft.com/office/drawing/2014/main" id="{26D250C4-68DA-9159-4A87-6C9589D5D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901" b="28901"/>
            <a:stretch>
              <a:fillRect/>
            </a:stretch>
          </p:blipFill>
          <p:spPr>
            <a:xfrm>
              <a:off x="0" y="-6902572"/>
              <a:ext cx="12192000" cy="3429000"/>
            </a:xfrm>
            <a:custGeom>
              <a:avLst/>
              <a:gdLst>
                <a:gd name="connsiteX0" fmla="*/ 0 w 3516313"/>
                <a:gd name="connsiteY0" fmla="*/ 0 h 1931988"/>
                <a:gd name="connsiteX1" fmla="*/ 3516313 w 3516313"/>
                <a:gd name="connsiteY1" fmla="*/ 0 h 1931988"/>
                <a:gd name="connsiteX2" fmla="*/ 3516313 w 3516313"/>
                <a:gd name="connsiteY2" fmla="*/ 1931988 h 1931988"/>
                <a:gd name="connsiteX3" fmla="*/ 0 w 3516313"/>
                <a:gd name="connsiteY3" fmla="*/ 1931988 h 1931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16313" h="1931988">
                  <a:moveTo>
                    <a:pt x="0" y="0"/>
                  </a:moveTo>
                  <a:lnTo>
                    <a:pt x="3516313" y="0"/>
                  </a:lnTo>
                  <a:lnTo>
                    <a:pt x="3516313" y="1931988"/>
                  </a:lnTo>
                  <a:lnTo>
                    <a:pt x="0" y="193198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660717E-057C-0C69-79B4-3A6D39C502B6}"/>
                </a:ext>
              </a:extLst>
            </p:cNvPr>
            <p:cNvSpPr/>
            <p:nvPr/>
          </p:nvSpPr>
          <p:spPr>
            <a:xfrm>
              <a:off x="0" y="-6902572"/>
              <a:ext cx="12192000" cy="342900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alpha val="75000"/>
                  </a:schemeClr>
                </a:gs>
                <a:gs pos="35000">
                  <a:schemeClr val="accent1">
                    <a:lumMod val="75000"/>
                    <a:alpha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26246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48148E-6 L 0 1.00648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032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1.48148E-6 L 0 1.00648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0324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1.48148E-6 L 0 1.00324 " pathEditMode="relative" rAng="0" ptsTypes="AA">
                                      <p:cBhvr>
                                        <p:cTn id="1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0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Person typing on laptop">
            <a:extLst>
              <a:ext uri="{FF2B5EF4-FFF2-40B4-BE49-F238E27FC236}">
                <a16:creationId xmlns:a16="http://schemas.microsoft.com/office/drawing/2014/main" id="{D0BF43C1-E0F0-8533-5717-D79EE4044CC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01" b="28901"/>
          <a:stretch>
            <a:fillRect/>
          </a:stretch>
        </p:blipFill>
        <p:spPr/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DCCCA05-FB1C-33F2-AE6A-1536FD0A8F72}"/>
              </a:ext>
            </a:extLst>
          </p:cNvPr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75000"/>
                </a:schemeClr>
              </a:gs>
              <a:gs pos="35000">
                <a:schemeClr val="accent1">
                  <a:lumMod val="75000"/>
                  <a:alpha val="75000"/>
                </a:schemeClr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E903F9-7858-2667-C99A-C4F6C3FF1BD4}"/>
              </a:ext>
            </a:extLst>
          </p:cNvPr>
          <p:cNvCxnSpPr>
            <a:cxnSpLocks/>
          </p:cNvCxnSpPr>
          <p:nvPr/>
        </p:nvCxnSpPr>
        <p:spPr>
          <a:xfrm>
            <a:off x="5693288" y="5679827"/>
            <a:ext cx="1554092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4325E8B-6F3A-6209-1E60-C9EBF118A253}"/>
              </a:ext>
            </a:extLst>
          </p:cNvPr>
          <p:cNvCxnSpPr>
            <a:cxnSpLocks/>
          </p:cNvCxnSpPr>
          <p:nvPr/>
        </p:nvCxnSpPr>
        <p:spPr>
          <a:xfrm>
            <a:off x="9546442" y="5679827"/>
            <a:ext cx="1550364" cy="0"/>
          </a:xfrm>
          <a:prstGeom prst="line">
            <a:avLst/>
          </a:prstGeom>
          <a:ln w="63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Placeholder 2">
            <a:extLst>
              <a:ext uri="{FF2B5EF4-FFF2-40B4-BE49-F238E27FC236}">
                <a16:creationId xmlns:a16="http://schemas.microsoft.com/office/drawing/2014/main" id="{A015AE66-8F45-CFB1-DCF4-057EA8D7EEA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1914" r="21914"/>
          <a:stretch>
            <a:fillRect/>
          </a:stretch>
        </p:blipFill>
        <p:spPr>
          <a:xfrm>
            <a:off x="7666875" y="1713924"/>
            <a:ext cx="3428818" cy="3430152"/>
          </a:xfrm>
          <a:prstGeom prst="snip2DiagRect">
            <a:avLst/>
          </a:prstGeom>
        </p:spPr>
      </p:pic>
      <p:pic>
        <p:nvPicPr>
          <p:cNvPr id="16" name="Picture Placeholder 1">
            <a:extLst>
              <a:ext uri="{FF2B5EF4-FFF2-40B4-BE49-F238E27FC236}">
                <a16:creationId xmlns:a16="http://schemas.microsoft.com/office/drawing/2014/main" id="{E3010805-A6B3-2B4D-57DE-2E0C3C2AD7B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6655" b="16655"/>
          <a:stretch>
            <a:fillRect/>
          </a:stretch>
        </p:blipFill>
        <p:spPr>
          <a:xfrm>
            <a:off x="3818562" y="1713924"/>
            <a:ext cx="3428818" cy="3430152"/>
          </a:xfrm>
          <a:prstGeom prst="snip2DiagRect">
            <a:avLst/>
          </a:prstGeom>
        </p:spPr>
      </p:pic>
      <p:pic>
        <p:nvPicPr>
          <p:cNvPr id="45" name="Picture Placeholder 44" descr="A person sitting in an airplane seat using a laptop computer">
            <a:extLst>
              <a:ext uri="{FF2B5EF4-FFF2-40B4-BE49-F238E27FC236}">
                <a16:creationId xmlns:a16="http://schemas.microsoft.com/office/drawing/2014/main" id="{4EE55824-DBB0-02B2-FA23-46D1EA6406E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2" r="16682"/>
          <a:stretch>
            <a:fillRect/>
          </a:stretch>
        </p:blipFill>
        <p:spPr/>
      </p:pic>
      <p:pic>
        <p:nvPicPr>
          <p:cNvPr id="43" name="Picture Placeholder 42" descr="Red ad gree bar graphs and numbers above the city skyline">
            <a:extLst>
              <a:ext uri="{FF2B5EF4-FFF2-40B4-BE49-F238E27FC236}">
                <a16:creationId xmlns:a16="http://schemas.microsoft.com/office/drawing/2014/main" id="{12D6F3C0-E470-A8A7-80FF-C57A41AE3DA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2" r="13072"/>
          <a:stretch>
            <a:fillRect/>
          </a:stretch>
        </p:blipFill>
        <p:spPr/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4BB2C5D-5C4A-BB47-11EC-3F1B8F4B1F89}"/>
              </a:ext>
            </a:extLst>
          </p:cNvPr>
          <p:cNvSpPr txBox="1"/>
          <p:nvPr/>
        </p:nvSpPr>
        <p:spPr>
          <a:xfrm>
            <a:off x="475423" y="1276094"/>
            <a:ext cx="14354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6600" b="1">
                <a:solidFill>
                  <a:schemeClr val="bg1">
                    <a:lumMod val="85000"/>
                    <a:alpha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0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3A7D99-B248-10C6-E85F-CA00D7B91465}"/>
              </a:ext>
            </a:extLst>
          </p:cNvPr>
          <p:cNvSpPr txBox="1"/>
          <p:nvPr/>
        </p:nvSpPr>
        <p:spPr>
          <a:xfrm>
            <a:off x="925105" y="1859041"/>
            <a:ext cx="2360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7200">
                <a:solidFill>
                  <a:schemeClr val="accent1"/>
                </a:solidFill>
                <a:latin typeface="Titillium Web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Another n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400" dirty="0">
                <a:solidFill>
                  <a:srgbClr val="FFFFFF"/>
                </a:solidFill>
                <a:latin typeface="Jura"/>
              </a:rPr>
              <a:t>Slide, wowz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7F8D88-A3F1-36DB-D54E-B81289DDE9BC}"/>
              </a:ext>
            </a:extLst>
          </p:cNvPr>
          <p:cNvGrpSpPr/>
          <p:nvPr/>
        </p:nvGrpSpPr>
        <p:grpSpPr>
          <a:xfrm>
            <a:off x="8476343" y="0"/>
            <a:ext cx="3718202" cy="2732009"/>
            <a:chOff x="7950200" y="0"/>
            <a:chExt cx="4244346" cy="3118602"/>
          </a:xfrm>
          <a:solidFill>
            <a:schemeClr val="bg1"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825C2C8-4AFD-C413-24D4-9BAADDA0F719}"/>
                </a:ext>
              </a:extLst>
            </p:cNvPr>
            <p:cNvSpPr/>
            <p:nvPr/>
          </p:nvSpPr>
          <p:spPr>
            <a:xfrm flipV="1">
              <a:off x="9783190" y="166241"/>
              <a:ext cx="2411067" cy="940967"/>
            </a:xfrm>
            <a:custGeom>
              <a:avLst/>
              <a:gdLst>
                <a:gd name="connsiteX0" fmla="*/ 2913218 w 5301100"/>
                <a:gd name="connsiteY0" fmla="*/ 1586828 h 2068861"/>
                <a:gd name="connsiteX1" fmla="*/ 2913218 w 5301100"/>
                <a:gd name="connsiteY1" fmla="*/ 877467 h 2068861"/>
                <a:gd name="connsiteX2" fmla="*/ 2116620 w 5301100"/>
                <a:gd name="connsiteY2" fmla="*/ 81506 h 2068861"/>
                <a:gd name="connsiteX3" fmla="*/ 199309 w 5301100"/>
                <a:gd name="connsiteY3" fmla="*/ 81506 h 2068861"/>
                <a:gd name="connsiteX4" fmla="*/ 100609 w 5301100"/>
                <a:gd name="connsiteY4" fmla="*/ 0 h 2068861"/>
                <a:gd name="connsiteX5" fmla="*/ 0 w 5301100"/>
                <a:gd name="connsiteY5" fmla="*/ 100609 h 2068861"/>
                <a:gd name="connsiteX6" fmla="*/ 100609 w 5301100"/>
                <a:gd name="connsiteY6" fmla="*/ 201219 h 2068861"/>
                <a:gd name="connsiteX7" fmla="*/ 199309 w 5301100"/>
                <a:gd name="connsiteY7" fmla="*/ 119712 h 2068861"/>
                <a:gd name="connsiteX8" fmla="*/ 2100701 w 5301100"/>
                <a:gd name="connsiteY8" fmla="*/ 119712 h 2068861"/>
                <a:gd name="connsiteX9" fmla="*/ 2874374 w 5301100"/>
                <a:gd name="connsiteY9" fmla="*/ 893387 h 2068861"/>
                <a:gd name="connsiteX10" fmla="*/ 2874374 w 5301100"/>
                <a:gd name="connsiteY10" fmla="*/ 1602747 h 2068861"/>
                <a:gd name="connsiteX11" fmla="*/ 3340490 w 5301100"/>
                <a:gd name="connsiteY11" fmla="*/ 2068862 h 2068861"/>
                <a:gd name="connsiteX12" fmla="*/ 5301101 w 5301100"/>
                <a:gd name="connsiteY12" fmla="*/ 2068862 h 2068861"/>
                <a:gd name="connsiteX13" fmla="*/ 5301101 w 5301100"/>
                <a:gd name="connsiteY13" fmla="*/ 2030656 h 2068861"/>
                <a:gd name="connsiteX14" fmla="*/ 3357045 w 5301100"/>
                <a:gd name="connsiteY14" fmla="*/ 2030656 h 2068861"/>
                <a:gd name="connsiteX15" fmla="*/ 2913218 w 5301100"/>
                <a:gd name="connsiteY15" fmla="*/ 1586828 h 20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01100" h="2068861">
                  <a:moveTo>
                    <a:pt x="2913218" y="1586828"/>
                  </a:moveTo>
                  <a:lnTo>
                    <a:pt x="2913218" y="877467"/>
                  </a:lnTo>
                  <a:lnTo>
                    <a:pt x="2116620" y="81506"/>
                  </a:lnTo>
                  <a:lnTo>
                    <a:pt x="199309" y="81506"/>
                  </a:lnTo>
                  <a:cubicBezTo>
                    <a:pt x="190394" y="35022"/>
                    <a:pt x="149641" y="0"/>
                    <a:pt x="100609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09" y="201219"/>
                  </a:cubicBezTo>
                  <a:cubicBezTo>
                    <a:pt x="149641" y="201219"/>
                    <a:pt x="190394" y="166197"/>
                    <a:pt x="199309" y="119712"/>
                  </a:cubicBezTo>
                  <a:lnTo>
                    <a:pt x="2100701" y="119712"/>
                  </a:lnTo>
                  <a:lnTo>
                    <a:pt x="2874374" y="893387"/>
                  </a:lnTo>
                  <a:lnTo>
                    <a:pt x="2874374" y="1602747"/>
                  </a:lnTo>
                  <a:lnTo>
                    <a:pt x="3340490" y="2068862"/>
                  </a:lnTo>
                  <a:lnTo>
                    <a:pt x="5301101" y="2068862"/>
                  </a:lnTo>
                  <a:lnTo>
                    <a:pt x="5301101" y="2030656"/>
                  </a:lnTo>
                  <a:lnTo>
                    <a:pt x="3357045" y="2030656"/>
                  </a:lnTo>
                  <a:lnTo>
                    <a:pt x="2913218" y="1586828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9D0ACA-C0B1-57F7-A640-025F956AA6FA}"/>
                </a:ext>
              </a:extLst>
            </p:cNvPr>
            <p:cNvSpPr/>
            <p:nvPr/>
          </p:nvSpPr>
          <p:spPr>
            <a:xfrm flipV="1">
              <a:off x="10463212" y="419656"/>
              <a:ext cx="1731045" cy="1728148"/>
            </a:xfrm>
            <a:custGeom>
              <a:avLst/>
              <a:gdLst>
                <a:gd name="connsiteX0" fmla="*/ 2163741 w 3805967"/>
                <a:gd name="connsiteY0" fmla="*/ 3553807 h 3799599"/>
                <a:gd name="connsiteX1" fmla="*/ 2163741 w 3805967"/>
                <a:gd name="connsiteY1" fmla="*/ 2971800 h 3799599"/>
                <a:gd name="connsiteX2" fmla="*/ 876831 w 3805967"/>
                <a:gd name="connsiteY2" fmla="*/ 1684890 h 3799599"/>
                <a:gd name="connsiteX3" fmla="*/ 876831 w 3805967"/>
                <a:gd name="connsiteY3" fmla="*/ 849450 h 3799599"/>
                <a:gd name="connsiteX4" fmla="*/ 184026 w 3805967"/>
                <a:gd name="connsiteY4" fmla="*/ 156645 h 3799599"/>
                <a:gd name="connsiteX5" fmla="*/ 201219 w 3805967"/>
                <a:gd name="connsiteY5" fmla="*/ 100609 h 3799599"/>
                <a:gd name="connsiteX6" fmla="*/ 100610 w 3805967"/>
                <a:gd name="connsiteY6" fmla="*/ 0 h 3799599"/>
                <a:gd name="connsiteX7" fmla="*/ 0 w 3805967"/>
                <a:gd name="connsiteY7" fmla="*/ 100609 h 3799599"/>
                <a:gd name="connsiteX8" fmla="*/ 100610 w 3805967"/>
                <a:gd name="connsiteY8" fmla="*/ 201219 h 3799599"/>
                <a:gd name="connsiteX9" fmla="*/ 156645 w 3805967"/>
                <a:gd name="connsiteY9" fmla="*/ 184026 h 3799599"/>
                <a:gd name="connsiteX10" fmla="*/ 838625 w 3805967"/>
                <a:gd name="connsiteY10" fmla="*/ 866006 h 3799599"/>
                <a:gd name="connsiteX11" fmla="*/ 838625 w 3805967"/>
                <a:gd name="connsiteY11" fmla="*/ 1701446 h 3799599"/>
                <a:gd name="connsiteX12" fmla="*/ 2125535 w 3805967"/>
                <a:gd name="connsiteY12" fmla="*/ 2988356 h 3799599"/>
                <a:gd name="connsiteX13" fmla="*/ 2125535 w 3805967"/>
                <a:gd name="connsiteY13" fmla="*/ 3570363 h 3799599"/>
                <a:gd name="connsiteX14" fmla="*/ 2354771 w 3805967"/>
                <a:gd name="connsiteY14" fmla="*/ 3799600 h 3799599"/>
                <a:gd name="connsiteX15" fmla="*/ 3805968 w 3805967"/>
                <a:gd name="connsiteY15" fmla="*/ 3799600 h 3799599"/>
                <a:gd name="connsiteX16" fmla="*/ 3805968 w 3805967"/>
                <a:gd name="connsiteY16" fmla="*/ 3761394 h 3799599"/>
                <a:gd name="connsiteX17" fmla="*/ 2370691 w 3805967"/>
                <a:gd name="connsiteY17" fmla="*/ 3761394 h 3799599"/>
                <a:gd name="connsiteX18" fmla="*/ 2163741 w 3805967"/>
                <a:gd name="connsiteY18" fmla="*/ 3553807 h 37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05967" h="3799599">
                  <a:moveTo>
                    <a:pt x="2163741" y="3553807"/>
                  </a:moveTo>
                  <a:lnTo>
                    <a:pt x="2163741" y="2971800"/>
                  </a:lnTo>
                  <a:lnTo>
                    <a:pt x="876831" y="1684890"/>
                  </a:lnTo>
                  <a:lnTo>
                    <a:pt x="876831" y="849450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0"/>
                    <a:pt x="156008" y="0"/>
                    <a:pt x="100610" y="0"/>
                  </a:cubicBezTo>
                  <a:cubicBezTo>
                    <a:pt x="45211" y="0"/>
                    <a:pt x="0" y="45210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21623" y="201219"/>
                    <a:pt x="140726" y="194851"/>
                    <a:pt x="156645" y="184026"/>
                  </a:cubicBezTo>
                  <a:lnTo>
                    <a:pt x="838625" y="866006"/>
                  </a:lnTo>
                  <a:lnTo>
                    <a:pt x="838625" y="1701446"/>
                  </a:lnTo>
                  <a:lnTo>
                    <a:pt x="2125535" y="2988356"/>
                  </a:lnTo>
                  <a:lnTo>
                    <a:pt x="2125535" y="3570363"/>
                  </a:lnTo>
                  <a:lnTo>
                    <a:pt x="2354771" y="3799600"/>
                  </a:lnTo>
                  <a:lnTo>
                    <a:pt x="3805968" y="3799600"/>
                  </a:lnTo>
                  <a:lnTo>
                    <a:pt x="3805968" y="3761394"/>
                  </a:lnTo>
                  <a:lnTo>
                    <a:pt x="2370691" y="3761394"/>
                  </a:lnTo>
                  <a:lnTo>
                    <a:pt x="2163741" y="3553807"/>
                  </a:ln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7DF0E96-D34C-A1CD-454C-17753E6EFE48}"/>
                </a:ext>
              </a:extLst>
            </p:cNvPr>
            <p:cNvSpPr/>
            <p:nvPr/>
          </p:nvSpPr>
          <p:spPr>
            <a:xfrm flipV="1">
              <a:off x="8935769" y="0"/>
              <a:ext cx="2123187" cy="430661"/>
            </a:xfrm>
            <a:custGeom>
              <a:avLst/>
              <a:gdLst>
                <a:gd name="connsiteX0" fmla="*/ 3749931 w 4668152"/>
                <a:gd name="connsiteY0" fmla="*/ 0 h 946875"/>
                <a:gd name="connsiteX1" fmla="*/ 2975621 w 4668152"/>
                <a:gd name="connsiteY1" fmla="*/ 0 h 946875"/>
                <a:gd name="connsiteX2" fmla="*/ 2704994 w 4668152"/>
                <a:gd name="connsiteY2" fmla="*/ 271264 h 946875"/>
                <a:gd name="connsiteX3" fmla="*/ 2589739 w 4668152"/>
                <a:gd name="connsiteY3" fmla="*/ 227964 h 946875"/>
                <a:gd name="connsiteX4" fmla="*/ 2413354 w 4668152"/>
                <a:gd name="connsiteY4" fmla="*/ 392886 h 946875"/>
                <a:gd name="connsiteX5" fmla="*/ 198035 w 4668152"/>
                <a:gd name="connsiteY5" fmla="*/ 392886 h 946875"/>
                <a:gd name="connsiteX6" fmla="*/ 100609 w 4668152"/>
                <a:gd name="connsiteY6" fmla="*/ 316474 h 946875"/>
                <a:gd name="connsiteX7" fmla="*/ 0 w 4668152"/>
                <a:gd name="connsiteY7" fmla="*/ 417084 h 946875"/>
                <a:gd name="connsiteX8" fmla="*/ 100609 w 4668152"/>
                <a:gd name="connsiteY8" fmla="*/ 517693 h 946875"/>
                <a:gd name="connsiteX9" fmla="*/ 199945 w 4668152"/>
                <a:gd name="connsiteY9" fmla="*/ 431730 h 946875"/>
                <a:gd name="connsiteX10" fmla="*/ 2415264 w 4668152"/>
                <a:gd name="connsiteY10" fmla="*/ 431730 h 946875"/>
                <a:gd name="connsiteX11" fmla="*/ 2589739 w 4668152"/>
                <a:gd name="connsiteY11" fmla="*/ 582007 h 946875"/>
                <a:gd name="connsiteX12" fmla="*/ 2766124 w 4668152"/>
                <a:gd name="connsiteY12" fmla="*/ 405622 h 946875"/>
                <a:gd name="connsiteX13" fmla="*/ 2731101 w 4668152"/>
                <a:gd name="connsiteY13" fmla="*/ 299918 h 946875"/>
                <a:gd name="connsiteX14" fmla="*/ 2991540 w 4668152"/>
                <a:gd name="connsiteY14" fmla="*/ 39480 h 946875"/>
                <a:gd name="connsiteX15" fmla="*/ 3734012 w 4668152"/>
                <a:gd name="connsiteY15" fmla="*/ 39480 h 946875"/>
                <a:gd name="connsiteX16" fmla="*/ 4640771 w 4668152"/>
                <a:gd name="connsiteY16" fmla="*/ 946876 h 946875"/>
                <a:gd name="connsiteX17" fmla="*/ 4668153 w 4668152"/>
                <a:gd name="connsiteY17" fmla="*/ 919494 h 946875"/>
                <a:gd name="connsiteX18" fmla="*/ 3755026 w 4668152"/>
                <a:gd name="connsiteY18" fmla="*/ 5731 h 946875"/>
                <a:gd name="connsiteX19" fmla="*/ 3749931 w 4668152"/>
                <a:gd name="connsiteY19" fmla="*/ 0 h 946875"/>
                <a:gd name="connsiteX20" fmla="*/ 2727917 w 4668152"/>
                <a:gd name="connsiteY20" fmla="*/ 404985 h 946875"/>
                <a:gd name="connsiteX21" fmla="*/ 2589739 w 4668152"/>
                <a:gd name="connsiteY21" fmla="*/ 543164 h 946875"/>
                <a:gd name="connsiteX22" fmla="*/ 2454107 w 4668152"/>
                <a:gd name="connsiteY22" fmla="*/ 431093 h 946875"/>
                <a:gd name="connsiteX23" fmla="*/ 2451560 w 4668152"/>
                <a:gd name="connsiteY23" fmla="*/ 404348 h 946875"/>
                <a:gd name="connsiteX24" fmla="*/ 2452197 w 4668152"/>
                <a:gd name="connsiteY24" fmla="*/ 392250 h 946875"/>
                <a:gd name="connsiteX25" fmla="*/ 2589739 w 4668152"/>
                <a:gd name="connsiteY25" fmla="*/ 265533 h 946875"/>
                <a:gd name="connsiteX26" fmla="*/ 2677613 w 4668152"/>
                <a:gd name="connsiteY26" fmla="*/ 297371 h 946875"/>
                <a:gd name="connsiteX27" fmla="*/ 2703720 w 4668152"/>
                <a:gd name="connsiteY27" fmla="*/ 325389 h 946875"/>
                <a:gd name="connsiteX28" fmla="*/ 2727917 w 4668152"/>
                <a:gd name="connsiteY28" fmla="*/ 404985 h 94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68152" h="946875">
                  <a:moveTo>
                    <a:pt x="3749931" y="0"/>
                  </a:moveTo>
                  <a:lnTo>
                    <a:pt x="2975621" y="0"/>
                  </a:lnTo>
                  <a:lnTo>
                    <a:pt x="2704994" y="271264"/>
                  </a:lnTo>
                  <a:cubicBezTo>
                    <a:pt x="2673792" y="244519"/>
                    <a:pt x="2633676" y="227964"/>
                    <a:pt x="2589739" y="227964"/>
                  </a:cubicBezTo>
                  <a:cubicBezTo>
                    <a:pt x="2496134" y="227964"/>
                    <a:pt x="2419722" y="300555"/>
                    <a:pt x="2413354" y="392886"/>
                  </a:cubicBezTo>
                  <a:lnTo>
                    <a:pt x="198035" y="392886"/>
                  </a:lnTo>
                  <a:cubicBezTo>
                    <a:pt x="187210" y="348950"/>
                    <a:pt x="147730" y="316474"/>
                    <a:pt x="100609" y="316474"/>
                  </a:cubicBezTo>
                  <a:cubicBezTo>
                    <a:pt x="45210" y="316474"/>
                    <a:pt x="0" y="361685"/>
                    <a:pt x="0" y="417084"/>
                  </a:cubicBezTo>
                  <a:cubicBezTo>
                    <a:pt x="0" y="472483"/>
                    <a:pt x="45210" y="517693"/>
                    <a:pt x="100609" y="517693"/>
                  </a:cubicBezTo>
                  <a:cubicBezTo>
                    <a:pt x="150914" y="517693"/>
                    <a:pt x="192941" y="480124"/>
                    <a:pt x="199945" y="431730"/>
                  </a:cubicBezTo>
                  <a:lnTo>
                    <a:pt x="2415264" y="431730"/>
                  </a:lnTo>
                  <a:cubicBezTo>
                    <a:pt x="2428000" y="516420"/>
                    <a:pt x="2501228" y="582007"/>
                    <a:pt x="2589739" y="582007"/>
                  </a:cubicBezTo>
                  <a:cubicBezTo>
                    <a:pt x="2687164" y="582007"/>
                    <a:pt x="2766124" y="503047"/>
                    <a:pt x="2766124" y="405622"/>
                  </a:cubicBezTo>
                  <a:cubicBezTo>
                    <a:pt x="2766124" y="366142"/>
                    <a:pt x="2752752" y="329210"/>
                    <a:pt x="2731101" y="299918"/>
                  </a:cubicBezTo>
                  <a:lnTo>
                    <a:pt x="2991540" y="39480"/>
                  </a:lnTo>
                  <a:lnTo>
                    <a:pt x="3734012" y="39480"/>
                  </a:lnTo>
                  <a:lnTo>
                    <a:pt x="4640771" y="946876"/>
                  </a:lnTo>
                  <a:lnTo>
                    <a:pt x="4668153" y="919494"/>
                  </a:lnTo>
                  <a:lnTo>
                    <a:pt x="3755026" y="5731"/>
                  </a:lnTo>
                  <a:lnTo>
                    <a:pt x="3749931" y="0"/>
                  </a:lnTo>
                  <a:close/>
                  <a:moveTo>
                    <a:pt x="2727917" y="404985"/>
                  </a:moveTo>
                  <a:cubicBezTo>
                    <a:pt x="2727917" y="481397"/>
                    <a:pt x="2666151" y="543164"/>
                    <a:pt x="2589739" y="543164"/>
                  </a:cubicBezTo>
                  <a:cubicBezTo>
                    <a:pt x="2522241" y="543164"/>
                    <a:pt x="2466206" y="494769"/>
                    <a:pt x="2454107" y="431093"/>
                  </a:cubicBezTo>
                  <a:cubicBezTo>
                    <a:pt x="2452197" y="422815"/>
                    <a:pt x="2451560" y="413900"/>
                    <a:pt x="2451560" y="404348"/>
                  </a:cubicBezTo>
                  <a:cubicBezTo>
                    <a:pt x="2451560" y="400528"/>
                    <a:pt x="2451560" y="396070"/>
                    <a:pt x="2452197" y="392250"/>
                  </a:cubicBezTo>
                  <a:cubicBezTo>
                    <a:pt x="2458564" y="321568"/>
                    <a:pt x="2517784" y="265533"/>
                    <a:pt x="2589739" y="265533"/>
                  </a:cubicBezTo>
                  <a:cubicBezTo>
                    <a:pt x="2622851" y="265533"/>
                    <a:pt x="2654052" y="277631"/>
                    <a:pt x="2677613" y="297371"/>
                  </a:cubicBezTo>
                  <a:cubicBezTo>
                    <a:pt x="2687801" y="305649"/>
                    <a:pt x="2696079" y="315201"/>
                    <a:pt x="2703720" y="325389"/>
                  </a:cubicBezTo>
                  <a:cubicBezTo>
                    <a:pt x="2719003" y="348950"/>
                    <a:pt x="2727917" y="375694"/>
                    <a:pt x="2727917" y="40498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0DF023F-C632-5CAC-C123-D43C6F2EFCCB}"/>
                </a:ext>
              </a:extLst>
            </p:cNvPr>
            <p:cNvSpPr/>
            <p:nvPr/>
          </p:nvSpPr>
          <p:spPr>
            <a:xfrm flipV="1">
              <a:off x="7950200" y="382585"/>
              <a:ext cx="2778591" cy="237776"/>
            </a:xfrm>
            <a:custGeom>
              <a:avLst/>
              <a:gdLst>
                <a:gd name="connsiteX0" fmla="*/ 101246 w 6109159"/>
                <a:gd name="connsiteY0" fmla="*/ 317111 h 522787"/>
                <a:gd name="connsiteX1" fmla="*/ 157282 w 6109159"/>
                <a:gd name="connsiteY1" fmla="*/ 299918 h 522787"/>
                <a:gd name="connsiteX2" fmla="*/ 380151 w 6109159"/>
                <a:gd name="connsiteY2" fmla="*/ 522787 h 522787"/>
                <a:gd name="connsiteX3" fmla="*/ 4552260 w 6109159"/>
                <a:gd name="connsiteY3" fmla="*/ 522787 h 522787"/>
                <a:gd name="connsiteX4" fmla="*/ 4955335 w 6109159"/>
                <a:gd name="connsiteY4" fmla="*/ 119713 h 522787"/>
                <a:gd name="connsiteX5" fmla="*/ 5909852 w 6109159"/>
                <a:gd name="connsiteY5" fmla="*/ 119713 h 522787"/>
                <a:gd name="connsiteX6" fmla="*/ 6008551 w 6109159"/>
                <a:gd name="connsiteY6" fmla="*/ 201219 h 522787"/>
                <a:gd name="connsiteX7" fmla="*/ 6109160 w 6109159"/>
                <a:gd name="connsiteY7" fmla="*/ 100610 h 522787"/>
                <a:gd name="connsiteX8" fmla="*/ 6008551 w 6109159"/>
                <a:gd name="connsiteY8" fmla="*/ 0 h 522787"/>
                <a:gd name="connsiteX9" fmla="*/ 5909852 w 6109159"/>
                <a:gd name="connsiteY9" fmla="*/ 81507 h 522787"/>
                <a:gd name="connsiteX10" fmla="*/ 4939416 w 6109159"/>
                <a:gd name="connsiteY10" fmla="*/ 81507 h 522787"/>
                <a:gd name="connsiteX11" fmla="*/ 4536341 w 6109159"/>
                <a:gd name="connsiteY11" fmla="*/ 484581 h 522787"/>
                <a:gd name="connsiteX12" fmla="*/ 395433 w 6109159"/>
                <a:gd name="connsiteY12" fmla="*/ 484581 h 522787"/>
                <a:gd name="connsiteX13" fmla="*/ 184026 w 6109159"/>
                <a:gd name="connsiteY13" fmla="*/ 273174 h 522787"/>
                <a:gd name="connsiteX14" fmla="*/ 201219 w 6109159"/>
                <a:gd name="connsiteY14" fmla="*/ 217138 h 522787"/>
                <a:gd name="connsiteX15" fmla="*/ 100609 w 6109159"/>
                <a:gd name="connsiteY15" fmla="*/ 116529 h 522787"/>
                <a:gd name="connsiteX16" fmla="*/ 0 w 6109159"/>
                <a:gd name="connsiteY16" fmla="*/ 217138 h 522787"/>
                <a:gd name="connsiteX17" fmla="*/ 101246 w 6109159"/>
                <a:gd name="connsiteY17" fmla="*/ 317111 h 52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109159" h="522787">
                  <a:moveTo>
                    <a:pt x="101246" y="317111"/>
                  </a:moveTo>
                  <a:cubicBezTo>
                    <a:pt x="122260" y="317111"/>
                    <a:pt x="141363" y="310744"/>
                    <a:pt x="157282" y="299918"/>
                  </a:cubicBezTo>
                  <a:lnTo>
                    <a:pt x="380151" y="522787"/>
                  </a:lnTo>
                  <a:lnTo>
                    <a:pt x="4552260" y="522787"/>
                  </a:lnTo>
                  <a:lnTo>
                    <a:pt x="4955335" y="119713"/>
                  </a:lnTo>
                  <a:lnTo>
                    <a:pt x="5909852" y="119713"/>
                  </a:lnTo>
                  <a:cubicBezTo>
                    <a:pt x="5918766" y="166197"/>
                    <a:pt x="5959519" y="201219"/>
                    <a:pt x="6008551" y="201219"/>
                  </a:cubicBezTo>
                  <a:cubicBezTo>
                    <a:pt x="6063950" y="201219"/>
                    <a:pt x="6109160" y="156008"/>
                    <a:pt x="6109160" y="100610"/>
                  </a:cubicBezTo>
                  <a:cubicBezTo>
                    <a:pt x="6109160" y="45211"/>
                    <a:pt x="6063950" y="0"/>
                    <a:pt x="6008551" y="0"/>
                  </a:cubicBezTo>
                  <a:cubicBezTo>
                    <a:pt x="5959519" y="0"/>
                    <a:pt x="5918766" y="35022"/>
                    <a:pt x="5909852" y="81507"/>
                  </a:cubicBezTo>
                  <a:lnTo>
                    <a:pt x="4939416" y="81507"/>
                  </a:lnTo>
                  <a:lnTo>
                    <a:pt x="4536341" y="484581"/>
                  </a:lnTo>
                  <a:lnTo>
                    <a:pt x="395433" y="484581"/>
                  </a:lnTo>
                  <a:lnTo>
                    <a:pt x="184026" y="273174"/>
                  </a:lnTo>
                  <a:cubicBezTo>
                    <a:pt x="194851" y="257255"/>
                    <a:pt x="201219" y="237515"/>
                    <a:pt x="201219" y="217138"/>
                  </a:cubicBezTo>
                  <a:cubicBezTo>
                    <a:pt x="201219" y="161739"/>
                    <a:pt x="156008" y="116529"/>
                    <a:pt x="100609" y="116529"/>
                  </a:cubicBezTo>
                  <a:cubicBezTo>
                    <a:pt x="45211" y="116529"/>
                    <a:pt x="0" y="161739"/>
                    <a:pt x="0" y="217138"/>
                  </a:cubicBezTo>
                  <a:cubicBezTo>
                    <a:pt x="637" y="271900"/>
                    <a:pt x="45847" y="317111"/>
                    <a:pt x="101246" y="31711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24F4AB7-F632-A0BA-1AEE-65EE35DA1608}"/>
                </a:ext>
              </a:extLst>
            </p:cNvPr>
            <p:cNvSpPr/>
            <p:nvPr/>
          </p:nvSpPr>
          <p:spPr>
            <a:xfrm flipV="1">
              <a:off x="11389699" y="1988225"/>
              <a:ext cx="574601" cy="1130377"/>
            </a:xfrm>
            <a:custGeom>
              <a:avLst/>
              <a:gdLst>
                <a:gd name="connsiteX0" fmla="*/ 100610 w 1263349"/>
                <a:gd name="connsiteY0" fmla="*/ 201219 h 2485308"/>
                <a:gd name="connsiteX1" fmla="*/ 156645 w 1263349"/>
                <a:gd name="connsiteY1" fmla="*/ 184026 h 2485308"/>
                <a:gd name="connsiteX2" fmla="*/ 1143637 w 1263349"/>
                <a:gd name="connsiteY2" fmla="*/ 1171018 h 2485308"/>
                <a:gd name="connsiteX3" fmla="*/ 1143637 w 1263349"/>
                <a:gd name="connsiteY3" fmla="*/ 2286000 h 2485308"/>
                <a:gd name="connsiteX4" fmla="*/ 1062131 w 1263349"/>
                <a:gd name="connsiteY4" fmla="*/ 2384699 h 2485308"/>
                <a:gd name="connsiteX5" fmla="*/ 1162740 w 1263349"/>
                <a:gd name="connsiteY5" fmla="*/ 2485309 h 2485308"/>
                <a:gd name="connsiteX6" fmla="*/ 1263350 w 1263349"/>
                <a:gd name="connsiteY6" fmla="*/ 2384699 h 2485308"/>
                <a:gd name="connsiteX7" fmla="*/ 1181843 w 1263349"/>
                <a:gd name="connsiteY7" fmla="*/ 2286000 h 2485308"/>
                <a:gd name="connsiteX8" fmla="*/ 1181843 w 1263349"/>
                <a:gd name="connsiteY8" fmla="*/ 1154462 h 2485308"/>
                <a:gd name="connsiteX9" fmla="*/ 184026 w 1263349"/>
                <a:gd name="connsiteY9" fmla="*/ 156645 h 2485308"/>
                <a:gd name="connsiteX10" fmla="*/ 201219 w 1263349"/>
                <a:gd name="connsiteY10" fmla="*/ 100609 h 2485308"/>
                <a:gd name="connsiteX11" fmla="*/ 100610 w 1263349"/>
                <a:gd name="connsiteY11" fmla="*/ 0 h 2485308"/>
                <a:gd name="connsiteX12" fmla="*/ 0 w 1263349"/>
                <a:gd name="connsiteY12" fmla="*/ 100609 h 2485308"/>
                <a:gd name="connsiteX13" fmla="*/ 100610 w 1263349"/>
                <a:gd name="connsiteY13" fmla="*/ 201219 h 24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3349" h="2485308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1143637" y="1171018"/>
                  </a:lnTo>
                  <a:lnTo>
                    <a:pt x="1143637" y="2286000"/>
                  </a:lnTo>
                  <a:cubicBezTo>
                    <a:pt x="1097153" y="2294915"/>
                    <a:pt x="1062131" y="2335668"/>
                    <a:pt x="1062131" y="2384699"/>
                  </a:cubicBezTo>
                  <a:cubicBezTo>
                    <a:pt x="1062131" y="2440098"/>
                    <a:pt x="1107341" y="2485309"/>
                    <a:pt x="1162740" y="2485309"/>
                  </a:cubicBezTo>
                  <a:cubicBezTo>
                    <a:pt x="1218139" y="2485309"/>
                    <a:pt x="1263350" y="2440098"/>
                    <a:pt x="1263350" y="2384699"/>
                  </a:cubicBezTo>
                  <a:cubicBezTo>
                    <a:pt x="1263350" y="2335668"/>
                    <a:pt x="1228327" y="2294915"/>
                    <a:pt x="1181843" y="2286000"/>
                  </a:cubicBezTo>
                  <a:lnTo>
                    <a:pt x="1181843" y="1154462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56008"/>
                    <a:pt x="45210" y="201219"/>
                    <a:pt x="100610" y="20121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67E84A9-82A8-A434-795B-B2D0D94C2860}"/>
                </a:ext>
              </a:extLst>
            </p:cNvPr>
            <p:cNvSpPr/>
            <p:nvPr/>
          </p:nvSpPr>
          <p:spPr>
            <a:xfrm flipV="1">
              <a:off x="11616177" y="1015399"/>
              <a:ext cx="482216" cy="2036881"/>
            </a:xfrm>
            <a:custGeom>
              <a:avLst/>
              <a:gdLst>
                <a:gd name="connsiteX0" fmla="*/ 99980 w 1060226"/>
                <a:gd name="connsiteY0" fmla="*/ 199945 h 4478395"/>
                <a:gd name="connsiteX1" fmla="*/ 141370 w 1060226"/>
                <a:gd name="connsiteY1" fmla="*/ 191031 h 4478395"/>
                <a:gd name="connsiteX2" fmla="*/ 141370 w 1060226"/>
                <a:gd name="connsiteY2" fmla="*/ 191031 h 4478395"/>
                <a:gd name="connsiteX3" fmla="*/ 750757 w 1060226"/>
                <a:gd name="connsiteY3" fmla="*/ 800418 h 4478395"/>
                <a:gd name="connsiteX4" fmla="*/ 706820 w 1060226"/>
                <a:gd name="connsiteY4" fmla="*/ 916947 h 4478395"/>
                <a:gd name="connsiteX5" fmla="*/ 864102 w 1060226"/>
                <a:gd name="connsiteY5" fmla="*/ 1092695 h 4478395"/>
                <a:gd name="connsiteX6" fmla="*/ 864102 w 1060226"/>
                <a:gd name="connsiteY6" fmla="*/ 2420358 h 4478395"/>
                <a:gd name="connsiteX7" fmla="*/ 669888 w 1060226"/>
                <a:gd name="connsiteY7" fmla="*/ 2614573 h 4478395"/>
                <a:gd name="connsiteX8" fmla="*/ 669888 w 1060226"/>
                <a:gd name="connsiteY8" fmla="*/ 4279087 h 4478395"/>
                <a:gd name="connsiteX9" fmla="*/ 586471 w 1060226"/>
                <a:gd name="connsiteY9" fmla="*/ 4377786 h 4478395"/>
                <a:gd name="connsiteX10" fmla="*/ 687080 w 1060226"/>
                <a:gd name="connsiteY10" fmla="*/ 4478395 h 4478395"/>
                <a:gd name="connsiteX11" fmla="*/ 787690 w 1060226"/>
                <a:gd name="connsiteY11" fmla="*/ 4377786 h 4478395"/>
                <a:gd name="connsiteX12" fmla="*/ 708731 w 1060226"/>
                <a:gd name="connsiteY12" fmla="*/ 4279723 h 4478395"/>
                <a:gd name="connsiteX13" fmla="*/ 708731 w 1060226"/>
                <a:gd name="connsiteY13" fmla="*/ 2630492 h 4478395"/>
                <a:gd name="connsiteX14" fmla="*/ 902945 w 1060226"/>
                <a:gd name="connsiteY14" fmla="*/ 2436278 h 4478395"/>
                <a:gd name="connsiteX15" fmla="*/ 902945 w 1060226"/>
                <a:gd name="connsiteY15" fmla="*/ 1092695 h 4478395"/>
                <a:gd name="connsiteX16" fmla="*/ 1060227 w 1060226"/>
                <a:gd name="connsiteY16" fmla="*/ 916947 h 4478395"/>
                <a:gd name="connsiteX17" fmla="*/ 883842 w 1060226"/>
                <a:gd name="connsiteY17" fmla="*/ 740562 h 4478395"/>
                <a:gd name="connsiteX18" fmla="*/ 779412 w 1060226"/>
                <a:gd name="connsiteY18" fmla="*/ 774948 h 4478395"/>
                <a:gd name="connsiteX19" fmla="*/ 173845 w 1060226"/>
                <a:gd name="connsiteY19" fmla="*/ 169381 h 4478395"/>
                <a:gd name="connsiteX20" fmla="*/ 173845 w 1060226"/>
                <a:gd name="connsiteY20" fmla="*/ 169381 h 4478395"/>
                <a:gd name="connsiteX21" fmla="*/ 201226 w 1060226"/>
                <a:gd name="connsiteY21" fmla="*/ 100609 h 4478395"/>
                <a:gd name="connsiteX22" fmla="*/ 100616 w 1060226"/>
                <a:gd name="connsiteY22" fmla="*/ 0 h 4478395"/>
                <a:gd name="connsiteX23" fmla="*/ 7 w 1060226"/>
                <a:gd name="connsiteY23" fmla="*/ 100609 h 4478395"/>
                <a:gd name="connsiteX24" fmla="*/ 99980 w 1060226"/>
                <a:gd name="connsiteY24" fmla="*/ 199945 h 4478395"/>
                <a:gd name="connsiteX25" fmla="*/ 806157 w 1060226"/>
                <a:gd name="connsiteY25" fmla="*/ 801692 h 4478395"/>
                <a:gd name="connsiteX26" fmla="*/ 883205 w 1060226"/>
                <a:gd name="connsiteY26" fmla="*/ 778132 h 4478395"/>
                <a:gd name="connsiteX27" fmla="*/ 1021384 w 1060226"/>
                <a:gd name="connsiteY27" fmla="*/ 916310 h 4478395"/>
                <a:gd name="connsiteX28" fmla="*/ 902309 w 1060226"/>
                <a:gd name="connsiteY28" fmla="*/ 1053216 h 4478395"/>
                <a:gd name="connsiteX29" fmla="*/ 883205 w 1060226"/>
                <a:gd name="connsiteY29" fmla="*/ 1054489 h 4478395"/>
                <a:gd name="connsiteX30" fmla="*/ 864102 w 1060226"/>
                <a:gd name="connsiteY30" fmla="*/ 1053216 h 4478395"/>
                <a:gd name="connsiteX31" fmla="*/ 745026 w 1060226"/>
                <a:gd name="connsiteY31" fmla="*/ 916310 h 4478395"/>
                <a:gd name="connsiteX32" fmla="*/ 777502 w 1060226"/>
                <a:gd name="connsiteY32" fmla="*/ 827163 h 4478395"/>
                <a:gd name="connsiteX33" fmla="*/ 806157 w 1060226"/>
                <a:gd name="connsiteY33" fmla="*/ 801692 h 447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60226" h="4478395">
                  <a:moveTo>
                    <a:pt x="99980" y="199945"/>
                  </a:moveTo>
                  <a:cubicBezTo>
                    <a:pt x="114625" y="199945"/>
                    <a:pt x="128634" y="196762"/>
                    <a:pt x="141370" y="191031"/>
                  </a:cubicBezTo>
                  <a:lnTo>
                    <a:pt x="141370" y="191031"/>
                  </a:lnTo>
                  <a:lnTo>
                    <a:pt x="750757" y="800418"/>
                  </a:lnTo>
                  <a:cubicBezTo>
                    <a:pt x="723377" y="831620"/>
                    <a:pt x="706820" y="872373"/>
                    <a:pt x="706820" y="916947"/>
                  </a:cubicBezTo>
                  <a:cubicBezTo>
                    <a:pt x="706820" y="1008005"/>
                    <a:pt x="775591" y="1083144"/>
                    <a:pt x="864102" y="1092695"/>
                  </a:cubicBezTo>
                  <a:lnTo>
                    <a:pt x="864102" y="2420358"/>
                  </a:lnTo>
                  <a:lnTo>
                    <a:pt x="669888" y="2614573"/>
                  </a:lnTo>
                  <a:lnTo>
                    <a:pt x="669888" y="4279087"/>
                  </a:lnTo>
                  <a:cubicBezTo>
                    <a:pt x="622767" y="4287365"/>
                    <a:pt x="586471" y="4328118"/>
                    <a:pt x="586471" y="4377786"/>
                  </a:cubicBezTo>
                  <a:cubicBezTo>
                    <a:pt x="586471" y="4433184"/>
                    <a:pt x="631682" y="4478395"/>
                    <a:pt x="687080" y="4478395"/>
                  </a:cubicBezTo>
                  <a:cubicBezTo>
                    <a:pt x="742480" y="4478395"/>
                    <a:pt x="787690" y="4433184"/>
                    <a:pt x="787690" y="4377786"/>
                  </a:cubicBezTo>
                  <a:cubicBezTo>
                    <a:pt x="787690" y="4329391"/>
                    <a:pt x="753941" y="4289275"/>
                    <a:pt x="708731" y="4279723"/>
                  </a:cubicBezTo>
                  <a:lnTo>
                    <a:pt x="708731" y="2630492"/>
                  </a:lnTo>
                  <a:lnTo>
                    <a:pt x="902945" y="2436278"/>
                  </a:lnTo>
                  <a:lnTo>
                    <a:pt x="902945" y="1092695"/>
                  </a:lnTo>
                  <a:cubicBezTo>
                    <a:pt x="991456" y="1083144"/>
                    <a:pt x="1060227" y="1008005"/>
                    <a:pt x="1060227" y="916947"/>
                  </a:cubicBezTo>
                  <a:cubicBezTo>
                    <a:pt x="1060227" y="819522"/>
                    <a:pt x="981268" y="740562"/>
                    <a:pt x="883842" y="740562"/>
                  </a:cubicBezTo>
                  <a:cubicBezTo>
                    <a:pt x="844999" y="740562"/>
                    <a:pt x="808703" y="753298"/>
                    <a:pt x="779412" y="774948"/>
                  </a:cubicBezTo>
                  <a:lnTo>
                    <a:pt x="173845" y="169381"/>
                  </a:lnTo>
                  <a:lnTo>
                    <a:pt x="173845" y="169381"/>
                  </a:lnTo>
                  <a:cubicBezTo>
                    <a:pt x="191037" y="151551"/>
                    <a:pt x="201226" y="127354"/>
                    <a:pt x="201226" y="100609"/>
                  </a:cubicBezTo>
                  <a:cubicBezTo>
                    <a:pt x="201226" y="45211"/>
                    <a:pt x="156015" y="0"/>
                    <a:pt x="100616" y="0"/>
                  </a:cubicBezTo>
                  <a:cubicBezTo>
                    <a:pt x="45218" y="0"/>
                    <a:pt x="7" y="45211"/>
                    <a:pt x="7" y="100609"/>
                  </a:cubicBezTo>
                  <a:cubicBezTo>
                    <a:pt x="-630" y="154735"/>
                    <a:pt x="44580" y="199945"/>
                    <a:pt x="99980" y="199945"/>
                  </a:cubicBezTo>
                  <a:close/>
                  <a:moveTo>
                    <a:pt x="806157" y="801692"/>
                  </a:moveTo>
                  <a:cubicBezTo>
                    <a:pt x="828444" y="787046"/>
                    <a:pt x="854551" y="778132"/>
                    <a:pt x="883205" y="778132"/>
                  </a:cubicBezTo>
                  <a:cubicBezTo>
                    <a:pt x="959618" y="778132"/>
                    <a:pt x="1021384" y="839898"/>
                    <a:pt x="1021384" y="916310"/>
                  </a:cubicBezTo>
                  <a:cubicBezTo>
                    <a:pt x="1021384" y="986355"/>
                    <a:pt x="969169" y="1043664"/>
                    <a:pt x="902309" y="1053216"/>
                  </a:cubicBezTo>
                  <a:cubicBezTo>
                    <a:pt x="895941" y="1053852"/>
                    <a:pt x="889573" y="1054489"/>
                    <a:pt x="883205" y="1054489"/>
                  </a:cubicBezTo>
                  <a:cubicBezTo>
                    <a:pt x="876838" y="1054489"/>
                    <a:pt x="870470" y="1053852"/>
                    <a:pt x="864102" y="1053216"/>
                  </a:cubicBezTo>
                  <a:cubicBezTo>
                    <a:pt x="796605" y="1043664"/>
                    <a:pt x="745026" y="986355"/>
                    <a:pt x="745026" y="916310"/>
                  </a:cubicBezTo>
                  <a:cubicBezTo>
                    <a:pt x="745026" y="882562"/>
                    <a:pt x="757125" y="851360"/>
                    <a:pt x="777502" y="827163"/>
                  </a:cubicBezTo>
                  <a:cubicBezTo>
                    <a:pt x="785780" y="817611"/>
                    <a:pt x="795331" y="808696"/>
                    <a:pt x="806157" y="80169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C8C6845-D663-90E8-1984-805AD83B301C}"/>
                </a:ext>
              </a:extLst>
            </p:cNvPr>
            <p:cNvSpPr/>
            <p:nvPr/>
          </p:nvSpPr>
          <p:spPr>
            <a:xfrm flipV="1">
              <a:off x="10887502" y="1150362"/>
              <a:ext cx="766038" cy="1866585"/>
            </a:xfrm>
            <a:custGeom>
              <a:avLst/>
              <a:gdLst>
                <a:gd name="connsiteX0" fmla="*/ 100610 w 1684253"/>
                <a:gd name="connsiteY0" fmla="*/ 200582 h 4103974"/>
                <a:gd name="connsiteX1" fmla="*/ 143910 w 1684253"/>
                <a:gd name="connsiteY1" fmla="*/ 190394 h 4103974"/>
                <a:gd name="connsiteX2" fmla="*/ 910579 w 1684253"/>
                <a:gd name="connsiteY2" fmla="*/ 957064 h 4103974"/>
                <a:gd name="connsiteX3" fmla="*/ 910579 w 1684253"/>
                <a:gd name="connsiteY3" fmla="*/ 2351587 h 4103974"/>
                <a:gd name="connsiteX4" fmla="*/ 1556263 w 1684253"/>
                <a:gd name="connsiteY4" fmla="*/ 2997271 h 4103974"/>
                <a:gd name="connsiteX5" fmla="*/ 1556263 w 1684253"/>
                <a:gd name="connsiteY5" fmla="*/ 3906577 h 4103974"/>
                <a:gd name="connsiteX6" fmla="*/ 1483035 w 1684253"/>
                <a:gd name="connsiteY6" fmla="*/ 4003366 h 4103974"/>
                <a:gd name="connsiteX7" fmla="*/ 1583645 w 1684253"/>
                <a:gd name="connsiteY7" fmla="*/ 4103975 h 4103974"/>
                <a:gd name="connsiteX8" fmla="*/ 1684254 w 1684253"/>
                <a:gd name="connsiteY8" fmla="*/ 4003366 h 4103974"/>
                <a:gd name="connsiteX9" fmla="*/ 1595106 w 1684253"/>
                <a:gd name="connsiteY9" fmla="*/ 3903393 h 4103974"/>
                <a:gd name="connsiteX10" fmla="*/ 1595106 w 1684253"/>
                <a:gd name="connsiteY10" fmla="*/ 2981352 h 4103974"/>
                <a:gd name="connsiteX11" fmla="*/ 949422 w 1684253"/>
                <a:gd name="connsiteY11" fmla="*/ 2335668 h 4103974"/>
                <a:gd name="connsiteX12" fmla="*/ 949422 w 1684253"/>
                <a:gd name="connsiteY12" fmla="*/ 941144 h 4103974"/>
                <a:gd name="connsiteX13" fmla="*/ 175111 w 1684253"/>
                <a:gd name="connsiteY13" fmla="*/ 167470 h 4103974"/>
                <a:gd name="connsiteX14" fmla="*/ 201219 w 1684253"/>
                <a:gd name="connsiteY14" fmla="*/ 100609 h 4103974"/>
                <a:gd name="connsiteX15" fmla="*/ 100610 w 1684253"/>
                <a:gd name="connsiteY15" fmla="*/ 0 h 4103974"/>
                <a:gd name="connsiteX16" fmla="*/ 0 w 1684253"/>
                <a:gd name="connsiteY16" fmla="*/ 100609 h 4103974"/>
                <a:gd name="connsiteX17" fmla="*/ 100610 w 1684253"/>
                <a:gd name="connsiteY17" fmla="*/ 200582 h 410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4253" h="4103974">
                  <a:moveTo>
                    <a:pt x="100610" y="200582"/>
                  </a:moveTo>
                  <a:cubicBezTo>
                    <a:pt x="116529" y="200582"/>
                    <a:pt x="131174" y="196762"/>
                    <a:pt x="143910" y="190394"/>
                  </a:cubicBezTo>
                  <a:lnTo>
                    <a:pt x="910579" y="957064"/>
                  </a:lnTo>
                  <a:lnTo>
                    <a:pt x="910579" y="2351587"/>
                  </a:lnTo>
                  <a:lnTo>
                    <a:pt x="1556263" y="2997271"/>
                  </a:lnTo>
                  <a:lnTo>
                    <a:pt x="1556263" y="3906577"/>
                  </a:lnTo>
                  <a:cubicBezTo>
                    <a:pt x="1514237" y="3918675"/>
                    <a:pt x="1483035" y="3956881"/>
                    <a:pt x="1483035" y="4003366"/>
                  </a:cubicBezTo>
                  <a:cubicBezTo>
                    <a:pt x="1483035" y="4058764"/>
                    <a:pt x="1528245" y="4103975"/>
                    <a:pt x="1583645" y="4103975"/>
                  </a:cubicBezTo>
                  <a:cubicBezTo>
                    <a:pt x="1639043" y="4103975"/>
                    <a:pt x="1684254" y="4058764"/>
                    <a:pt x="1684254" y="4003366"/>
                  </a:cubicBezTo>
                  <a:cubicBezTo>
                    <a:pt x="1684254" y="3951787"/>
                    <a:pt x="1645411" y="3909124"/>
                    <a:pt x="1595106" y="3903393"/>
                  </a:cubicBezTo>
                  <a:lnTo>
                    <a:pt x="1595106" y="2981352"/>
                  </a:lnTo>
                  <a:lnTo>
                    <a:pt x="949422" y="2335668"/>
                  </a:lnTo>
                  <a:lnTo>
                    <a:pt x="949422" y="941144"/>
                  </a:lnTo>
                  <a:lnTo>
                    <a:pt x="175111" y="167470"/>
                  </a:lnTo>
                  <a:cubicBezTo>
                    <a:pt x="191031" y="149641"/>
                    <a:pt x="201219" y="126080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0582"/>
                    <a:pt x="100610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E8D0C2C-DDCD-9FB5-FB3E-B5670F288B46}"/>
                </a:ext>
              </a:extLst>
            </p:cNvPr>
            <p:cNvSpPr/>
            <p:nvPr/>
          </p:nvSpPr>
          <p:spPr>
            <a:xfrm flipV="1">
              <a:off x="11367398" y="918088"/>
              <a:ext cx="359705" cy="1712798"/>
            </a:xfrm>
            <a:custGeom>
              <a:avLst/>
              <a:gdLst>
                <a:gd name="connsiteX0" fmla="*/ 80869 w 790866"/>
                <a:gd name="connsiteY0" fmla="*/ 199309 h 3765850"/>
                <a:gd name="connsiteX1" fmla="*/ 80869 w 790866"/>
                <a:gd name="connsiteY1" fmla="*/ 1390066 h 3765850"/>
                <a:gd name="connsiteX2" fmla="*/ 752024 w 790866"/>
                <a:gd name="connsiteY2" fmla="*/ 2060584 h 3765850"/>
                <a:gd name="connsiteX3" fmla="*/ 752024 w 790866"/>
                <a:gd name="connsiteY3" fmla="*/ 3253252 h 3765850"/>
                <a:gd name="connsiteX4" fmla="*/ 423451 w 790866"/>
                <a:gd name="connsiteY4" fmla="*/ 3581825 h 3765850"/>
                <a:gd name="connsiteX5" fmla="*/ 367415 w 790866"/>
                <a:gd name="connsiteY5" fmla="*/ 3564632 h 3765850"/>
                <a:gd name="connsiteX6" fmla="*/ 266806 w 790866"/>
                <a:gd name="connsiteY6" fmla="*/ 3665241 h 3765850"/>
                <a:gd name="connsiteX7" fmla="*/ 367415 w 790866"/>
                <a:gd name="connsiteY7" fmla="*/ 3765851 h 3765850"/>
                <a:gd name="connsiteX8" fmla="*/ 468025 w 790866"/>
                <a:gd name="connsiteY8" fmla="*/ 3665241 h 3765850"/>
                <a:gd name="connsiteX9" fmla="*/ 450832 w 790866"/>
                <a:gd name="connsiteY9" fmla="*/ 3609206 h 3765850"/>
                <a:gd name="connsiteX10" fmla="*/ 790867 w 790866"/>
                <a:gd name="connsiteY10" fmla="*/ 3269171 h 3765850"/>
                <a:gd name="connsiteX11" fmla="*/ 790867 w 790866"/>
                <a:gd name="connsiteY11" fmla="*/ 2044665 h 3765850"/>
                <a:gd name="connsiteX12" fmla="*/ 119712 w 790866"/>
                <a:gd name="connsiteY12" fmla="*/ 1373510 h 3765850"/>
                <a:gd name="connsiteX13" fmla="*/ 119712 w 790866"/>
                <a:gd name="connsiteY13" fmla="*/ 199309 h 3765850"/>
                <a:gd name="connsiteX14" fmla="*/ 201219 w 790866"/>
                <a:gd name="connsiteY14" fmla="*/ 100609 h 3765850"/>
                <a:gd name="connsiteX15" fmla="*/ 100609 w 790866"/>
                <a:gd name="connsiteY15" fmla="*/ 0 h 3765850"/>
                <a:gd name="connsiteX16" fmla="*/ 0 w 790866"/>
                <a:gd name="connsiteY16" fmla="*/ 100609 h 3765850"/>
                <a:gd name="connsiteX17" fmla="*/ 80869 w 790866"/>
                <a:gd name="connsiteY17" fmla="*/ 199309 h 376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0866" h="3765850">
                  <a:moveTo>
                    <a:pt x="80869" y="199309"/>
                  </a:moveTo>
                  <a:lnTo>
                    <a:pt x="80869" y="1390066"/>
                  </a:lnTo>
                  <a:lnTo>
                    <a:pt x="752024" y="2060584"/>
                  </a:lnTo>
                  <a:lnTo>
                    <a:pt x="752024" y="3253252"/>
                  </a:lnTo>
                  <a:lnTo>
                    <a:pt x="423451" y="3581825"/>
                  </a:lnTo>
                  <a:cubicBezTo>
                    <a:pt x="407532" y="3571000"/>
                    <a:pt x="387792" y="3564632"/>
                    <a:pt x="367415" y="3564632"/>
                  </a:cubicBezTo>
                  <a:cubicBezTo>
                    <a:pt x="312017" y="3564632"/>
                    <a:pt x="266806" y="3609842"/>
                    <a:pt x="266806" y="3665241"/>
                  </a:cubicBezTo>
                  <a:cubicBezTo>
                    <a:pt x="266806" y="3720640"/>
                    <a:pt x="312017" y="3765851"/>
                    <a:pt x="367415" y="3765851"/>
                  </a:cubicBezTo>
                  <a:cubicBezTo>
                    <a:pt x="422814" y="3765851"/>
                    <a:pt x="468025" y="3720640"/>
                    <a:pt x="468025" y="3665241"/>
                  </a:cubicBezTo>
                  <a:cubicBezTo>
                    <a:pt x="468025" y="3644228"/>
                    <a:pt x="461657" y="3625125"/>
                    <a:pt x="450832" y="3609206"/>
                  </a:cubicBezTo>
                  <a:lnTo>
                    <a:pt x="790867" y="3269171"/>
                  </a:lnTo>
                  <a:lnTo>
                    <a:pt x="790867" y="2044665"/>
                  </a:lnTo>
                  <a:lnTo>
                    <a:pt x="119712" y="1373510"/>
                  </a:lnTo>
                  <a:lnTo>
                    <a:pt x="119712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09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89757"/>
                    <a:pt x="80869" y="19930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3486A2A-EE74-D829-12C9-EE0B9BAA8B05}"/>
                </a:ext>
              </a:extLst>
            </p:cNvPr>
            <p:cNvSpPr/>
            <p:nvPr/>
          </p:nvSpPr>
          <p:spPr>
            <a:xfrm flipV="1">
              <a:off x="10707939" y="1016268"/>
              <a:ext cx="689579" cy="1619252"/>
            </a:xfrm>
            <a:custGeom>
              <a:avLst/>
              <a:gdLst>
                <a:gd name="connsiteX0" fmla="*/ 101246 w 1516146"/>
                <a:gd name="connsiteY0" fmla="*/ 200582 h 3560174"/>
                <a:gd name="connsiteX1" fmla="*/ 157282 w 1516146"/>
                <a:gd name="connsiteY1" fmla="*/ 183389 h 3560174"/>
                <a:gd name="connsiteX2" fmla="*/ 953243 w 1516146"/>
                <a:gd name="connsiteY2" fmla="*/ 979350 h 3560174"/>
                <a:gd name="connsiteX3" fmla="*/ 953243 w 1516146"/>
                <a:gd name="connsiteY3" fmla="*/ 1614209 h 3560174"/>
                <a:gd name="connsiteX4" fmla="*/ 682617 w 1516146"/>
                <a:gd name="connsiteY4" fmla="*/ 1884836 h 3560174"/>
                <a:gd name="connsiteX5" fmla="*/ 682617 w 1516146"/>
                <a:gd name="connsiteY5" fmla="*/ 2585281 h 3560174"/>
                <a:gd name="connsiteX6" fmla="*/ 535522 w 1516146"/>
                <a:gd name="connsiteY6" fmla="*/ 2759119 h 3560174"/>
                <a:gd name="connsiteX7" fmla="*/ 711908 w 1516146"/>
                <a:gd name="connsiteY7" fmla="*/ 2935504 h 3560174"/>
                <a:gd name="connsiteX8" fmla="*/ 823979 w 1516146"/>
                <a:gd name="connsiteY8" fmla="*/ 2895388 h 3560174"/>
                <a:gd name="connsiteX9" fmla="*/ 1332121 w 1516146"/>
                <a:gd name="connsiteY9" fmla="*/ 3403529 h 3560174"/>
                <a:gd name="connsiteX10" fmla="*/ 1314928 w 1516146"/>
                <a:gd name="connsiteY10" fmla="*/ 3459565 h 3560174"/>
                <a:gd name="connsiteX11" fmla="*/ 1415537 w 1516146"/>
                <a:gd name="connsiteY11" fmla="*/ 3560175 h 3560174"/>
                <a:gd name="connsiteX12" fmla="*/ 1516146 w 1516146"/>
                <a:gd name="connsiteY12" fmla="*/ 3459565 h 3560174"/>
                <a:gd name="connsiteX13" fmla="*/ 1415537 w 1516146"/>
                <a:gd name="connsiteY13" fmla="*/ 3358955 h 3560174"/>
                <a:gd name="connsiteX14" fmla="*/ 1359501 w 1516146"/>
                <a:gd name="connsiteY14" fmla="*/ 3376148 h 3560174"/>
                <a:gd name="connsiteX15" fmla="*/ 1359501 w 1516146"/>
                <a:gd name="connsiteY15" fmla="*/ 3376148 h 3560174"/>
                <a:gd name="connsiteX16" fmla="*/ 851360 w 1516146"/>
                <a:gd name="connsiteY16" fmla="*/ 2868007 h 3560174"/>
                <a:gd name="connsiteX17" fmla="*/ 888929 w 1516146"/>
                <a:gd name="connsiteY17" fmla="*/ 2759119 h 3560174"/>
                <a:gd name="connsiteX18" fmla="*/ 720823 w 1516146"/>
                <a:gd name="connsiteY18" fmla="*/ 2582735 h 3560174"/>
                <a:gd name="connsiteX19" fmla="*/ 720823 w 1516146"/>
                <a:gd name="connsiteY19" fmla="*/ 1901392 h 3560174"/>
                <a:gd name="connsiteX20" fmla="*/ 991450 w 1516146"/>
                <a:gd name="connsiteY20" fmla="*/ 1630765 h 3560174"/>
                <a:gd name="connsiteX21" fmla="*/ 991450 w 1516146"/>
                <a:gd name="connsiteY21" fmla="*/ 963431 h 3560174"/>
                <a:gd name="connsiteX22" fmla="*/ 184026 w 1516146"/>
                <a:gd name="connsiteY22" fmla="*/ 156645 h 3560174"/>
                <a:gd name="connsiteX23" fmla="*/ 201219 w 1516146"/>
                <a:gd name="connsiteY23" fmla="*/ 100609 h 3560174"/>
                <a:gd name="connsiteX24" fmla="*/ 100610 w 1516146"/>
                <a:gd name="connsiteY24" fmla="*/ 0 h 3560174"/>
                <a:gd name="connsiteX25" fmla="*/ 0 w 1516146"/>
                <a:gd name="connsiteY25" fmla="*/ 100609 h 3560174"/>
                <a:gd name="connsiteX26" fmla="*/ 101246 w 1516146"/>
                <a:gd name="connsiteY26" fmla="*/ 200582 h 3560174"/>
                <a:gd name="connsiteX27" fmla="*/ 850086 w 1516146"/>
                <a:gd name="connsiteY27" fmla="*/ 2760393 h 3560174"/>
                <a:gd name="connsiteX28" fmla="*/ 823342 w 1516146"/>
                <a:gd name="connsiteY28" fmla="*/ 2841899 h 3560174"/>
                <a:gd name="connsiteX29" fmla="*/ 796598 w 1516146"/>
                <a:gd name="connsiteY29" fmla="*/ 2869280 h 3560174"/>
                <a:gd name="connsiteX30" fmla="*/ 711908 w 1516146"/>
                <a:gd name="connsiteY30" fmla="*/ 2898572 h 3560174"/>
                <a:gd name="connsiteX31" fmla="*/ 573729 w 1516146"/>
                <a:gd name="connsiteY31" fmla="*/ 2760393 h 3560174"/>
                <a:gd name="connsiteX32" fmla="*/ 682617 w 1516146"/>
                <a:gd name="connsiteY32" fmla="*/ 2625398 h 3560174"/>
                <a:gd name="connsiteX33" fmla="*/ 711908 w 1516146"/>
                <a:gd name="connsiteY33" fmla="*/ 2622214 h 3560174"/>
                <a:gd name="connsiteX34" fmla="*/ 720823 w 1516146"/>
                <a:gd name="connsiteY34" fmla="*/ 2622214 h 3560174"/>
                <a:gd name="connsiteX35" fmla="*/ 850086 w 1516146"/>
                <a:gd name="connsiteY35" fmla="*/ 2760393 h 356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146" h="3560174">
                  <a:moveTo>
                    <a:pt x="101246" y="200582"/>
                  </a:moveTo>
                  <a:cubicBezTo>
                    <a:pt x="122260" y="200582"/>
                    <a:pt x="141363" y="194214"/>
                    <a:pt x="157282" y="183389"/>
                  </a:cubicBezTo>
                  <a:lnTo>
                    <a:pt x="953243" y="979350"/>
                  </a:lnTo>
                  <a:lnTo>
                    <a:pt x="953243" y="1614209"/>
                  </a:lnTo>
                  <a:lnTo>
                    <a:pt x="682617" y="1884836"/>
                  </a:lnTo>
                  <a:lnTo>
                    <a:pt x="682617" y="2585281"/>
                  </a:lnTo>
                  <a:cubicBezTo>
                    <a:pt x="599199" y="2599290"/>
                    <a:pt x="535522" y="2671882"/>
                    <a:pt x="535522" y="2759119"/>
                  </a:cubicBezTo>
                  <a:cubicBezTo>
                    <a:pt x="535522" y="2856545"/>
                    <a:pt x="614482" y="2935504"/>
                    <a:pt x="711908" y="2935504"/>
                  </a:cubicBezTo>
                  <a:cubicBezTo>
                    <a:pt x="754571" y="2935504"/>
                    <a:pt x="793414" y="2920222"/>
                    <a:pt x="823979" y="2895388"/>
                  </a:cubicBezTo>
                  <a:lnTo>
                    <a:pt x="1332121" y="3403529"/>
                  </a:lnTo>
                  <a:cubicBezTo>
                    <a:pt x="1321295" y="3419448"/>
                    <a:pt x="1314928" y="3439189"/>
                    <a:pt x="1314928" y="3459565"/>
                  </a:cubicBezTo>
                  <a:cubicBezTo>
                    <a:pt x="1314928" y="3514964"/>
                    <a:pt x="1360138" y="3560175"/>
                    <a:pt x="1415537" y="3560175"/>
                  </a:cubicBezTo>
                  <a:cubicBezTo>
                    <a:pt x="1470936" y="3560175"/>
                    <a:pt x="1516146" y="3514964"/>
                    <a:pt x="1516146" y="3459565"/>
                  </a:cubicBezTo>
                  <a:cubicBezTo>
                    <a:pt x="1516146" y="3404166"/>
                    <a:pt x="1470936" y="3358955"/>
                    <a:pt x="1415537" y="3358955"/>
                  </a:cubicBezTo>
                  <a:cubicBezTo>
                    <a:pt x="1394524" y="3358955"/>
                    <a:pt x="1375421" y="3365323"/>
                    <a:pt x="1359501" y="3376148"/>
                  </a:cubicBezTo>
                  <a:lnTo>
                    <a:pt x="1359501" y="3376148"/>
                  </a:lnTo>
                  <a:lnTo>
                    <a:pt x="851360" y="2868007"/>
                  </a:lnTo>
                  <a:cubicBezTo>
                    <a:pt x="874921" y="2838079"/>
                    <a:pt x="888929" y="2799873"/>
                    <a:pt x="888929" y="2759119"/>
                  </a:cubicBezTo>
                  <a:cubicBezTo>
                    <a:pt x="888929" y="2664877"/>
                    <a:pt x="814427" y="2587192"/>
                    <a:pt x="720823" y="2582735"/>
                  </a:cubicBezTo>
                  <a:lnTo>
                    <a:pt x="720823" y="1901392"/>
                  </a:lnTo>
                  <a:lnTo>
                    <a:pt x="991450" y="1630765"/>
                  </a:lnTo>
                  <a:lnTo>
                    <a:pt x="991450" y="963431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637" y="156008"/>
                    <a:pt x="45211" y="200582"/>
                    <a:pt x="101246" y="200582"/>
                  </a:cubicBezTo>
                  <a:close/>
                  <a:moveTo>
                    <a:pt x="850086" y="2760393"/>
                  </a:moveTo>
                  <a:cubicBezTo>
                    <a:pt x="850086" y="2790958"/>
                    <a:pt x="839898" y="2818976"/>
                    <a:pt x="823342" y="2841899"/>
                  </a:cubicBezTo>
                  <a:cubicBezTo>
                    <a:pt x="815701" y="2852088"/>
                    <a:pt x="806787" y="2861639"/>
                    <a:pt x="796598" y="2869280"/>
                  </a:cubicBezTo>
                  <a:cubicBezTo>
                    <a:pt x="773038" y="2887747"/>
                    <a:pt x="743746" y="2898572"/>
                    <a:pt x="711908" y="2898572"/>
                  </a:cubicBezTo>
                  <a:cubicBezTo>
                    <a:pt x="635496" y="2898572"/>
                    <a:pt x="573729" y="2836805"/>
                    <a:pt x="573729" y="2760393"/>
                  </a:cubicBezTo>
                  <a:cubicBezTo>
                    <a:pt x="573729" y="2694169"/>
                    <a:pt x="620213" y="2638770"/>
                    <a:pt x="682617" y="2625398"/>
                  </a:cubicBezTo>
                  <a:cubicBezTo>
                    <a:pt x="692168" y="2623487"/>
                    <a:pt x="702356" y="2622214"/>
                    <a:pt x="711908" y="2622214"/>
                  </a:cubicBezTo>
                  <a:cubicBezTo>
                    <a:pt x="715092" y="2622214"/>
                    <a:pt x="717639" y="2622214"/>
                    <a:pt x="720823" y="2622214"/>
                  </a:cubicBezTo>
                  <a:cubicBezTo>
                    <a:pt x="792777" y="2626671"/>
                    <a:pt x="850086" y="2686528"/>
                    <a:pt x="850086" y="2760393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ABF05BD-73B8-12CD-3D13-F3083E882031}"/>
                </a:ext>
              </a:extLst>
            </p:cNvPr>
            <p:cNvSpPr/>
            <p:nvPr/>
          </p:nvSpPr>
          <p:spPr>
            <a:xfrm flipV="1">
              <a:off x="9737720" y="2098279"/>
              <a:ext cx="1360913" cy="995415"/>
            </a:xfrm>
            <a:custGeom>
              <a:avLst/>
              <a:gdLst>
                <a:gd name="connsiteX0" fmla="*/ 100610 w 2992176"/>
                <a:gd name="connsiteY0" fmla="*/ 201219 h 2188574"/>
                <a:gd name="connsiteX1" fmla="*/ 156645 w 2992176"/>
                <a:gd name="connsiteY1" fmla="*/ 184026 h 2188574"/>
                <a:gd name="connsiteX2" fmla="*/ 937324 w 2992176"/>
                <a:gd name="connsiteY2" fmla="*/ 964068 h 2188574"/>
                <a:gd name="connsiteX3" fmla="*/ 943055 w 2992176"/>
                <a:gd name="connsiteY3" fmla="*/ 969799 h 2188574"/>
                <a:gd name="connsiteX4" fmla="*/ 1088238 w 2992176"/>
                <a:gd name="connsiteY4" fmla="*/ 969799 h 2188574"/>
                <a:gd name="connsiteX5" fmla="*/ 1263986 w 2992176"/>
                <a:gd name="connsiteY5" fmla="*/ 1128991 h 2188574"/>
                <a:gd name="connsiteX6" fmla="*/ 1439735 w 2992176"/>
                <a:gd name="connsiteY6" fmla="*/ 969799 h 2188574"/>
                <a:gd name="connsiteX7" fmla="*/ 1746020 w 2992176"/>
                <a:gd name="connsiteY7" fmla="*/ 969799 h 2188574"/>
                <a:gd name="connsiteX8" fmla="*/ 2808151 w 2992176"/>
                <a:gd name="connsiteY8" fmla="*/ 2031929 h 2188574"/>
                <a:gd name="connsiteX9" fmla="*/ 2790958 w 2992176"/>
                <a:gd name="connsiteY9" fmla="*/ 2087965 h 2188574"/>
                <a:gd name="connsiteX10" fmla="*/ 2891567 w 2992176"/>
                <a:gd name="connsiteY10" fmla="*/ 2188574 h 2188574"/>
                <a:gd name="connsiteX11" fmla="*/ 2992177 w 2992176"/>
                <a:gd name="connsiteY11" fmla="*/ 2087965 h 2188574"/>
                <a:gd name="connsiteX12" fmla="*/ 2891567 w 2992176"/>
                <a:gd name="connsiteY12" fmla="*/ 1987356 h 2188574"/>
                <a:gd name="connsiteX13" fmla="*/ 2835532 w 2992176"/>
                <a:gd name="connsiteY13" fmla="*/ 2004548 h 2188574"/>
                <a:gd name="connsiteX14" fmla="*/ 1767670 w 2992176"/>
                <a:gd name="connsiteY14" fmla="*/ 937324 h 2188574"/>
                <a:gd name="connsiteX15" fmla="*/ 1761939 w 2992176"/>
                <a:gd name="connsiteY15" fmla="*/ 931593 h 2188574"/>
                <a:gd name="connsiteX16" fmla="*/ 1439098 w 2992176"/>
                <a:gd name="connsiteY16" fmla="*/ 931593 h 2188574"/>
                <a:gd name="connsiteX17" fmla="*/ 1263986 w 2992176"/>
                <a:gd name="connsiteY17" fmla="*/ 775584 h 2188574"/>
                <a:gd name="connsiteX18" fmla="*/ 1088875 w 2992176"/>
                <a:gd name="connsiteY18" fmla="*/ 931593 h 2188574"/>
                <a:gd name="connsiteX19" fmla="*/ 958974 w 2992176"/>
                <a:gd name="connsiteY19" fmla="*/ 931593 h 2188574"/>
                <a:gd name="connsiteX20" fmla="*/ 184026 w 2992176"/>
                <a:gd name="connsiteY20" fmla="*/ 156645 h 2188574"/>
                <a:gd name="connsiteX21" fmla="*/ 184026 w 2992176"/>
                <a:gd name="connsiteY21" fmla="*/ 156645 h 2188574"/>
                <a:gd name="connsiteX22" fmla="*/ 201219 w 2992176"/>
                <a:gd name="connsiteY22" fmla="*/ 100609 h 2188574"/>
                <a:gd name="connsiteX23" fmla="*/ 100610 w 2992176"/>
                <a:gd name="connsiteY23" fmla="*/ 0 h 2188574"/>
                <a:gd name="connsiteX24" fmla="*/ 0 w 2992176"/>
                <a:gd name="connsiteY24" fmla="*/ 100609 h 2188574"/>
                <a:gd name="connsiteX25" fmla="*/ 100610 w 2992176"/>
                <a:gd name="connsiteY25" fmla="*/ 201219 h 2188574"/>
                <a:gd name="connsiteX26" fmla="*/ 1263986 w 2992176"/>
                <a:gd name="connsiteY26" fmla="*/ 813791 h 2188574"/>
                <a:gd name="connsiteX27" fmla="*/ 1400891 w 2992176"/>
                <a:gd name="connsiteY27" fmla="*/ 931593 h 2188574"/>
                <a:gd name="connsiteX28" fmla="*/ 1402165 w 2992176"/>
                <a:gd name="connsiteY28" fmla="*/ 951969 h 2188574"/>
                <a:gd name="connsiteX29" fmla="*/ 1400891 w 2992176"/>
                <a:gd name="connsiteY29" fmla="*/ 969799 h 2188574"/>
                <a:gd name="connsiteX30" fmla="*/ 1263986 w 2992176"/>
                <a:gd name="connsiteY30" fmla="*/ 1090148 h 2188574"/>
                <a:gd name="connsiteX31" fmla="*/ 1127081 w 2992176"/>
                <a:gd name="connsiteY31" fmla="*/ 969799 h 2188574"/>
                <a:gd name="connsiteX32" fmla="*/ 1125808 w 2992176"/>
                <a:gd name="connsiteY32" fmla="*/ 951969 h 2188574"/>
                <a:gd name="connsiteX33" fmla="*/ 1127081 w 2992176"/>
                <a:gd name="connsiteY33" fmla="*/ 931593 h 2188574"/>
                <a:gd name="connsiteX34" fmla="*/ 1263986 w 2992176"/>
                <a:gd name="connsiteY34" fmla="*/ 813791 h 218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92176" h="2188574">
                  <a:moveTo>
                    <a:pt x="100610" y="201219"/>
                  </a:moveTo>
                  <a:cubicBezTo>
                    <a:pt x="121623" y="201219"/>
                    <a:pt x="140726" y="194851"/>
                    <a:pt x="156645" y="184026"/>
                  </a:cubicBezTo>
                  <a:lnTo>
                    <a:pt x="937324" y="964068"/>
                  </a:lnTo>
                  <a:lnTo>
                    <a:pt x="943055" y="969799"/>
                  </a:lnTo>
                  <a:lnTo>
                    <a:pt x="1088238" y="969799"/>
                  </a:lnTo>
                  <a:cubicBezTo>
                    <a:pt x="1097153" y="1058947"/>
                    <a:pt x="1172292" y="1128991"/>
                    <a:pt x="1263986" y="1128991"/>
                  </a:cubicBezTo>
                  <a:cubicBezTo>
                    <a:pt x="1355044" y="1128991"/>
                    <a:pt x="1430820" y="1058947"/>
                    <a:pt x="1439735" y="969799"/>
                  </a:cubicBezTo>
                  <a:lnTo>
                    <a:pt x="1746020" y="969799"/>
                  </a:lnTo>
                  <a:lnTo>
                    <a:pt x="2808151" y="2031929"/>
                  </a:lnTo>
                  <a:cubicBezTo>
                    <a:pt x="2797326" y="2047849"/>
                    <a:pt x="2790958" y="2067588"/>
                    <a:pt x="2790958" y="2087965"/>
                  </a:cubicBezTo>
                  <a:cubicBezTo>
                    <a:pt x="2790958" y="2143364"/>
                    <a:pt x="2836169" y="2188574"/>
                    <a:pt x="2891567" y="2188574"/>
                  </a:cubicBezTo>
                  <a:cubicBezTo>
                    <a:pt x="2946966" y="2188574"/>
                    <a:pt x="2992177" y="2143364"/>
                    <a:pt x="2992177" y="2087965"/>
                  </a:cubicBezTo>
                  <a:cubicBezTo>
                    <a:pt x="2992177" y="2032566"/>
                    <a:pt x="2946966" y="1987356"/>
                    <a:pt x="2891567" y="1987356"/>
                  </a:cubicBezTo>
                  <a:cubicBezTo>
                    <a:pt x="2870554" y="1987356"/>
                    <a:pt x="2851451" y="1993723"/>
                    <a:pt x="2835532" y="2004548"/>
                  </a:cubicBezTo>
                  <a:lnTo>
                    <a:pt x="1767670" y="937324"/>
                  </a:lnTo>
                  <a:lnTo>
                    <a:pt x="1761939" y="931593"/>
                  </a:lnTo>
                  <a:lnTo>
                    <a:pt x="1439098" y="931593"/>
                  </a:lnTo>
                  <a:cubicBezTo>
                    <a:pt x="1428909" y="843719"/>
                    <a:pt x="1354407" y="775584"/>
                    <a:pt x="1263986" y="775584"/>
                  </a:cubicBezTo>
                  <a:cubicBezTo>
                    <a:pt x="1173565" y="775584"/>
                    <a:pt x="1099063" y="843719"/>
                    <a:pt x="1088875" y="931593"/>
                  </a:cubicBezTo>
                  <a:lnTo>
                    <a:pt x="958974" y="931593"/>
                  </a:lnTo>
                  <a:lnTo>
                    <a:pt x="184026" y="156645"/>
                  </a:lnTo>
                  <a:lnTo>
                    <a:pt x="184026" y="156645"/>
                  </a:lnTo>
                  <a:cubicBezTo>
                    <a:pt x="194851" y="140726"/>
                    <a:pt x="201219" y="120986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1263986" y="813791"/>
                  </a:moveTo>
                  <a:cubicBezTo>
                    <a:pt x="1333394" y="813791"/>
                    <a:pt x="1390703" y="864732"/>
                    <a:pt x="1400891" y="931593"/>
                  </a:cubicBezTo>
                  <a:cubicBezTo>
                    <a:pt x="1402165" y="938597"/>
                    <a:pt x="1402165" y="944965"/>
                    <a:pt x="1402165" y="951969"/>
                  </a:cubicBezTo>
                  <a:cubicBezTo>
                    <a:pt x="1402165" y="957700"/>
                    <a:pt x="1401528" y="964068"/>
                    <a:pt x="1400891" y="969799"/>
                  </a:cubicBezTo>
                  <a:cubicBezTo>
                    <a:pt x="1391977" y="1037933"/>
                    <a:pt x="1334031" y="1090148"/>
                    <a:pt x="1263986" y="1090148"/>
                  </a:cubicBezTo>
                  <a:cubicBezTo>
                    <a:pt x="1193942" y="1090148"/>
                    <a:pt x="1135359" y="1037296"/>
                    <a:pt x="1127081" y="969799"/>
                  </a:cubicBezTo>
                  <a:cubicBezTo>
                    <a:pt x="1126444" y="964068"/>
                    <a:pt x="1125808" y="958337"/>
                    <a:pt x="1125808" y="951969"/>
                  </a:cubicBezTo>
                  <a:cubicBezTo>
                    <a:pt x="1125808" y="944965"/>
                    <a:pt x="1126444" y="937960"/>
                    <a:pt x="1127081" y="931593"/>
                  </a:cubicBezTo>
                  <a:cubicBezTo>
                    <a:pt x="1137269" y="865369"/>
                    <a:pt x="1194579" y="813791"/>
                    <a:pt x="1263986" y="813791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6B534F4-025D-4066-9F53-5184CCDE5A57}"/>
                </a:ext>
              </a:extLst>
            </p:cNvPr>
            <p:cNvSpPr/>
            <p:nvPr/>
          </p:nvSpPr>
          <p:spPr>
            <a:xfrm flipV="1">
              <a:off x="9989687" y="1814165"/>
              <a:ext cx="943574" cy="505382"/>
            </a:xfrm>
            <a:custGeom>
              <a:avLst/>
              <a:gdLst>
                <a:gd name="connsiteX0" fmla="*/ 1973983 w 2074593"/>
                <a:gd name="connsiteY0" fmla="*/ 1111162 h 1111161"/>
                <a:gd name="connsiteX1" fmla="*/ 2074593 w 2074593"/>
                <a:gd name="connsiteY1" fmla="*/ 1010552 h 1111161"/>
                <a:gd name="connsiteX2" fmla="*/ 1973983 w 2074593"/>
                <a:gd name="connsiteY2" fmla="*/ 909943 h 1111161"/>
                <a:gd name="connsiteX3" fmla="*/ 1921132 w 2074593"/>
                <a:gd name="connsiteY3" fmla="*/ 925225 h 1111161"/>
                <a:gd name="connsiteX4" fmla="*/ 1083144 w 2074593"/>
                <a:gd name="connsiteY4" fmla="*/ 87237 h 1111161"/>
                <a:gd name="connsiteX5" fmla="*/ 1077413 w 2074593"/>
                <a:gd name="connsiteY5" fmla="*/ 81507 h 1111161"/>
                <a:gd name="connsiteX6" fmla="*/ 199309 w 2074593"/>
                <a:gd name="connsiteY6" fmla="*/ 81507 h 1111161"/>
                <a:gd name="connsiteX7" fmla="*/ 100610 w 2074593"/>
                <a:gd name="connsiteY7" fmla="*/ 0 h 1111161"/>
                <a:gd name="connsiteX8" fmla="*/ 0 w 2074593"/>
                <a:gd name="connsiteY8" fmla="*/ 100610 h 1111161"/>
                <a:gd name="connsiteX9" fmla="*/ 100610 w 2074593"/>
                <a:gd name="connsiteY9" fmla="*/ 201219 h 1111161"/>
                <a:gd name="connsiteX10" fmla="*/ 199309 w 2074593"/>
                <a:gd name="connsiteY10" fmla="*/ 119713 h 1111161"/>
                <a:gd name="connsiteX11" fmla="*/ 1061494 w 2074593"/>
                <a:gd name="connsiteY11" fmla="*/ 119713 h 1111161"/>
                <a:gd name="connsiteX12" fmla="*/ 1893114 w 2074593"/>
                <a:gd name="connsiteY12" fmla="*/ 951333 h 1111161"/>
                <a:gd name="connsiteX13" fmla="*/ 1874011 w 2074593"/>
                <a:gd name="connsiteY13" fmla="*/ 1010552 h 1111161"/>
                <a:gd name="connsiteX14" fmla="*/ 1973983 w 2074593"/>
                <a:gd name="connsiteY14" fmla="*/ 1111162 h 111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4593" h="1111161">
                  <a:moveTo>
                    <a:pt x="1973983" y="1111162"/>
                  </a:moveTo>
                  <a:cubicBezTo>
                    <a:pt x="2029382" y="1111162"/>
                    <a:pt x="2074593" y="1065951"/>
                    <a:pt x="2074593" y="1010552"/>
                  </a:cubicBezTo>
                  <a:cubicBezTo>
                    <a:pt x="2074593" y="955153"/>
                    <a:pt x="2029382" y="909943"/>
                    <a:pt x="1973983" y="909943"/>
                  </a:cubicBezTo>
                  <a:cubicBezTo>
                    <a:pt x="1954244" y="909943"/>
                    <a:pt x="1936414" y="915674"/>
                    <a:pt x="1921132" y="925225"/>
                  </a:cubicBezTo>
                  <a:lnTo>
                    <a:pt x="1083144" y="87237"/>
                  </a:lnTo>
                  <a:lnTo>
                    <a:pt x="1077413" y="81507"/>
                  </a:lnTo>
                  <a:lnTo>
                    <a:pt x="199309" y="81507"/>
                  </a:lnTo>
                  <a:cubicBezTo>
                    <a:pt x="190394" y="35022"/>
                    <a:pt x="149641" y="0"/>
                    <a:pt x="100610" y="0"/>
                  </a:cubicBezTo>
                  <a:cubicBezTo>
                    <a:pt x="45211" y="0"/>
                    <a:pt x="0" y="45211"/>
                    <a:pt x="0" y="100610"/>
                  </a:cubicBezTo>
                  <a:cubicBezTo>
                    <a:pt x="0" y="156008"/>
                    <a:pt x="45211" y="201219"/>
                    <a:pt x="100610" y="201219"/>
                  </a:cubicBezTo>
                  <a:cubicBezTo>
                    <a:pt x="149641" y="201219"/>
                    <a:pt x="190394" y="166197"/>
                    <a:pt x="199309" y="119713"/>
                  </a:cubicBezTo>
                  <a:lnTo>
                    <a:pt x="1061494" y="119713"/>
                  </a:lnTo>
                  <a:lnTo>
                    <a:pt x="1893114" y="951333"/>
                  </a:lnTo>
                  <a:cubicBezTo>
                    <a:pt x="1881015" y="967889"/>
                    <a:pt x="1874011" y="988265"/>
                    <a:pt x="1874011" y="1010552"/>
                  </a:cubicBezTo>
                  <a:cubicBezTo>
                    <a:pt x="1874011" y="1065951"/>
                    <a:pt x="1918585" y="1111162"/>
                    <a:pt x="1973983" y="1111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3E60DC9-159D-ECB0-F0A3-0C831F9B9F93}"/>
                </a:ext>
              </a:extLst>
            </p:cNvPr>
            <p:cNvSpPr/>
            <p:nvPr/>
          </p:nvSpPr>
          <p:spPr>
            <a:xfrm flipV="1">
              <a:off x="9737720" y="1425498"/>
              <a:ext cx="963268" cy="640054"/>
            </a:xfrm>
            <a:custGeom>
              <a:avLst/>
              <a:gdLst>
                <a:gd name="connsiteX0" fmla="*/ 100610 w 2117893"/>
                <a:gd name="connsiteY0" fmla="*/ 201219 h 1407258"/>
                <a:gd name="connsiteX1" fmla="*/ 161103 w 2117893"/>
                <a:gd name="connsiteY1" fmla="*/ 180842 h 1407258"/>
                <a:gd name="connsiteX2" fmla="*/ 161103 w 2117893"/>
                <a:gd name="connsiteY2" fmla="*/ 180842 h 1407258"/>
                <a:gd name="connsiteX3" fmla="*/ 595379 w 2117893"/>
                <a:gd name="connsiteY3" fmla="*/ 615119 h 1407258"/>
                <a:gd name="connsiteX4" fmla="*/ 555263 w 2117893"/>
                <a:gd name="connsiteY4" fmla="*/ 726553 h 1407258"/>
                <a:gd name="connsiteX5" fmla="*/ 731648 w 2117893"/>
                <a:gd name="connsiteY5" fmla="*/ 902938 h 1407258"/>
                <a:gd name="connsiteX6" fmla="*/ 843082 w 2117893"/>
                <a:gd name="connsiteY6" fmla="*/ 862822 h 1407258"/>
                <a:gd name="connsiteX7" fmla="*/ 1300282 w 2117893"/>
                <a:gd name="connsiteY7" fmla="*/ 1320022 h 1407258"/>
                <a:gd name="connsiteX8" fmla="*/ 1306013 w 2117893"/>
                <a:gd name="connsiteY8" fmla="*/ 1325753 h 1407258"/>
                <a:gd name="connsiteX9" fmla="*/ 1918585 w 2117893"/>
                <a:gd name="connsiteY9" fmla="*/ 1325753 h 1407258"/>
                <a:gd name="connsiteX10" fmla="*/ 2017284 w 2117893"/>
                <a:gd name="connsiteY10" fmla="*/ 1407259 h 1407258"/>
                <a:gd name="connsiteX11" fmla="*/ 2117893 w 2117893"/>
                <a:gd name="connsiteY11" fmla="*/ 1306650 h 1407258"/>
                <a:gd name="connsiteX12" fmla="*/ 2017284 w 2117893"/>
                <a:gd name="connsiteY12" fmla="*/ 1206040 h 1407258"/>
                <a:gd name="connsiteX13" fmla="*/ 1918585 w 2117893"/>
                <a:gd name="connsiteY13" fmla="*/ 1287546 h 1407258"/>
                <a:gd name="connsiteX14" fmla="*/ 1321932 w 2117893"/>
                <a:gd name="connsiteY14" fmla="*/ 1287546 h 1407258"/>
                <a:gd name="connsiteX15" fmla="*/ 870463 w 2117893"/>
                <a:gd name="connsiteY15" fmla="*/ 836077 h 1407258"/>
                <a:gd name="connsiteX16" fmla="*/ 908669 w 2117893"/>
                <a:gd name="connsiteY16" fmla="*/ 726553 h 1407258"/>
                <a:gd name="connsiteX17" fmla="*/ 732284 w 2117893"/>
                <a:gd name="connsiteY17" fmla="*/ 550168 h 1407258"/>
                <a:gd name="connsiteX18" fmla="*/ 622760 w 2117893"/>
                <a:gd name="connsiteY18" fmla="*/ 588374 h 1407258"/>
                <a:gd name="connsiteX19" fmla="*/ 186574 w 2117893"/>
                <a:gd name="connsiteY19" fmla="*/ 152188 h 1407258"/>
                <a:gd name="connsiteX20" fmla="*/ 201219 w 2117893"/>
                <a:gd name="connsiteY20" fmla="*/ 100609 h 1407258"/>
                <a:gd name="connsiteX21" fmla="*/ 100610 w 2117893"/>
                <a:gd name="connsiteY21" fmla="*/ 0 h 1407258"/>
                <a:gd name="connsiteX22" fmla="*/ 0 w 2117893"/>
                <a:gd name="connsiteY22" fmla="*/ 100609 h 1407258"/>
                <a:gd name="connsiteX23" fmla="*/ 100610 w 2117893"/>
                <a:gd name="connsiteY23" fmla="*/ 201219 h 1407258"/>
                <a:gd name="connsiteX24" fmla="*/ 650141 w 2117893"/>
                <a:gd name="connsiteY24" fmla="*/ 615755 h 1407258"/>
                <a:gd name="connsiteX25" fmla="*/ 732284 w 2117893"/>
                <a:gd name="connsiteY25" fmla="*/ 588374 h 1407258"/>
                <a:gd name="connsiteX26" fmla="*/ 870463 w 2117893"/>
                <a:gd name="connsiteY26" fmla="*/ 726553 h 1407258"/>
                <a:gd name="connsiteX27" fmla="*/ 843082 w 2117893"/>
                <a:gd name="connsiteY27" fmla="*/ 808696 h 1407258"/>
                <a:gd name="connsiteX28" fmla="*/ 816338 w 2117893"/>
                <a:gd name="connsiteY28" fmla="*/ 836077 h 1407258"/>
                <a:gd name="connsiteX29" fmla="*/ 731648 w 2117893"/>
                <a:gd name="connsiteY29" fmla="*/ 864732 h 1407258"/>
                <a:gd name="connsiteX30" fmla="*/ 593469 w 2117893"/>
                <a:gd name="connsiteY30" fmla="*/ 726553 h 1407258"/>
                <a:gd name="connsiteX31" fmla="*/ 622123 w 2117893"/>
                <a:gd name="connsiteY31" fmla="*/ 641863 h 1407258"/>
                <a:gd name="connsiteX32" fmla="*/ 650141 w 2117893"/>
                <a:gd name="connsiteY32" fmla="*/ 615755 h 140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17893" h="1407258">
                  <a:moveTo>
                    <a:pt x="100610" y="201219"/>
                  </a:moveTo>
                  <a:cubicBezTo>
                    <a:pt x="123533" y="201219"/>
                    <a:pt x="143910" y="193578"/>
                    <a:pt x="161103" y="180842"/>
                  </a:cubicBezTo>
                  <a:lnTo>
                    <a:pt x="161103" y="180842"/>
                  </a:lnTo>
                  <a:lnTo>
                    <a:pt x="595379" y="615119"/>
                  </a:lnTo>
                  <a:cubicBezTo>
                    <a:pt x="570545" y="645684"/>
                    <a:pt x="555263" y="684526"/>
                    <a:pt x="555263" y="726553"/>
                  </a:cubicBezTo>
                  <a:cubicBezTo>
                    <a:pt x="555263" y="823979"/>
                    <a:pt x="634222" y="902938"/>
                    <a:pt x="731648" y="902938"/>
                  </a:cubicBezTo>
                  <a:cubicBezTo>
                    <a:pt x="773674" y="902938"/>
                    <a:pt x="813154" y="888293"/>
                    <a:pt x="843082" y="862822"/>
                  </a:cubicBezTo>
                  <a:lnTo>
                    <a:pt x="1300282" y="1320022"/>
                  </a:lnTo>
                  <a:lnTo>
                    <a:pt x="1306013" y="1325753"/>
                  </a:lnTo>
                  <a:lnTo>
                    <a:pt x="1918585" y="1325753"/>
                  </a:lnTo>
                  <a:cubicBezTo>
                    <a:pt x="1927499" y="1372237"/>
                    <a:pt x="1968253" y="1407259"/>
                    <a:pt x="2017284" y="1407259"/>
                  </a:cubicBezTo>
                  <a:cubicBezTo>
                    <a:pt x="2072683" y="1407259"/>
                    <a:pt x="2117893" y="1362048"/>
                    <a:pt x="2117893" y="1306650"/>
                  </a:cubicBezTo>
                  <a:cubicBezTo>
                    <a:pt x="2117893" y="1251251"/>
                    <a:pt x="2072683" y="1206040"/>
                    <a:pt x="2017284" y="1206040"/>
                  </a:cubicBezTo>
                  <a:cubicBezTo>
                    <a:pt x="1968253" y="1206040"/>
                    <a:pt x="1927499" y="1241062"/>
                    <a:pt x="1918585" y="1287546"/>
                  </a:cubicBezTo>
                  <a:lnTo>
                    <a:pt x="1321932" y="1287546"/>
                  </a:lnTo>
                  <a:lnTo>
                    <a:pt x="870463" y="836077"/>
                  </a:lnTo>
                  <a:cubicBezTo>
                    <a:pt x="894660" y="806149"/>
                    <a:pt x="908669" y="767943"/>
                    <a:pt x="908669" y="726553"/>
                  </a:cubicBezTo>
                  <a:cubicBezTo>
                    <a:pt x="908669" y="629128"/>
                    <a:pt x="829710" y="550168"/>
                    <a:pt x="732284" y="550168"/>
                  </a:cubicBezTo>
                  <a:cubicBezTo>
                    <a:pt x="690894" y="550168"/>
                    <a:pt x="652688" y="564177"/>
                    <a:pt x="622760" y="588374"/>
                  </a:cubicBezTo>
                  <a:lnTo>
                    <a:pt x="186574" y="152188"/>
                  </a:lnTo>
                  <a:cubicBezTo>
                    <a:pt x="195488" y="136905"/>
                    <a:pt x="201219" y="119712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1" y="0"/>
                    <a:pt x="0" y="45211"/>
                    <a:pt x="0" y="100609"/>
                  </a:cubicBezTo>
                  <a:cubicBezTo>
                    <a:pt x="0" y="156008"/>
                    <a:pt x="45211" y="201219"/>
                    <a:pt x="100610" y="201219"/>
                  </a:cubicBezTo>
                  <a:close/>
                  <a:moveTo>
                    <a:pt x="650141" y="615755"/>
                  </a:moveTo>
                  <a:cubicBezTo>
                    <a:pt x="673065" y="598563"/>
                    <a:pt x="701719" y="588374"/>
                    <a:pt x="732284" y="588374"/>
                  </a:cubicBezTo>
                  <a:cubicBezTo>
                    <a:pt x="808696" y="588374"/>
                    <a:pt x="870463" y="650141"/>
                    <a:pt x="870463" y="726553"/>
                  </a:cubicBezTo>
                  <a:cubicBezTo>
                    <a:pt x="870463" y="757118"/>
                    <a:pt x="860275" y="785773"/>
                    <a:pt x="843082" y="808696"/>
                  </a:cubicBezTo>
                  <a:cubicBezTo>
                    <a:pt x="835441" y="818885"/>
                    <a:pt x="826526" y="828436"/>
                    <a:pt x="816338" y="836077"/>
                  </a:cubicBezTo>
                  <a:cubicBezTo>
                    <a:pt x="792777" y="853907"/>
                    <a:pt x="763486" y="864732"/>
                    <a:pt x="731648" y="864732"/>
                  </a:cubicBezTo>
                  <a:cubicBezTo>
                    <a:pt x="655235" y="864732"/>
                    <a:pt x="593469" y="802966"/>
                    <a:pt x="593469" y="726553"/>
                  </a:cubicBezTo>
                  <a:cubicBezTo>
                    <a:pt x="593469" y="694715"/>
                    <a:pt x="604294" y="665423"/>
                    <a:pt x="622123" y="641863"/>
                  </a:cubicBezTo>
                  <a:cubicBezTo>
                    <a:pt x="630401" y="632311"/>
                    <a:pt x="639953" y="623397"/>
                    <a:pt x="650141" y="615755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5F2F3FE-174B-55BE-FDCF-0AC424115232}"/>
                </a:ext>
              </a:extLst>
            </p:cNvPr>
            <p:cNvSpPr/>
            <p:nvPr/>
          </p:nvSpPr>
          <p:spPr>
            <a:xfrm flipV="1">
              <a:off x="9525720" y="1303859"/>
              <a:ext cx="1175847" cy="567360"/>
            </a:xfrm>
            <a:custGeom>
              <a:avLst/>
              <a:gdLst>
                <a:gd name="connsiteX0" fmla="*/ 101246 w 2585281"/>
                <a:gd name="connsiteY0" fmla="*/ 200582 h 1247429"/>
                <a:gd name="connsiteX1" fmla="*/ 151551 w 2585281"/>
                <a:gd name="connsiteY1" fmla="*/ 187210 h 1247429"/>
                <a:gd name="connsiteX2" fmla="*/ 730374 w 2585281"/>
                <a:gd name="connsiteY2" fmla="*/ 766033 h 1247429"/>
                <a:gd name="connsiteX3" fmla="*/ 1215591 w 2585281"/>
                <a:gd name="connsiteY3" fmla="*/ 766033 h 1247429"/>
                <a:gd name="connsiteX4" fmla="*/ 1615482 w 2585281"/>
                <a:gd name="connsiteY4" fmla="*/ 1165924 h 1247429"/>
                <a:gd name="connsiteX5" fmla="*/ 2385973 w 2585281"/>
                <a:gd name="connsiteY5" fmla="*/ 1165924 h 1247429"/>
                <a:gd name="connsiteX6" fmla="*/ 2484672 w 2585281"/>
                <a:gd name="connsiteY6" fmla="*/ 1247430 h 1247429"/>
                <a:gd name="connsiteX7" fmla="*/ 2585281 w 2585281"/>
                <a:gd name="connsiteY7" fmla="*/ 1146821 h 1247429"/>
                <a:gd name="connsiteX8" fmla="*/ 2484672 w 2585281"/>
                <a:gd name="connsiteY8" fmla="*/ 1046211 h 1247429"/>
                <a:gd name="connsiteX9" fmla="*/ 2385973 w 2585281"/>
                <a:gd name="connsiteY9" fmla="*/ 1127717 h 1247429"/>
                <a:gd name="connsiteX10" fmla="*/ 1630765 w 2585281"/>
                <a:gd name="connsiteY10" fmla="*/ 1127717 h 1247429"/>
                <a:gd name="connsiteX11" fmla="*/ 1230874 w 2585281"/>
                <a:gd name="connsiteY11" fmla="*/ 727827 h 1247429"/>
                <a:gd name="connsiteX12" fmla="*/ 745656 w 2585281"/>
                <a:gd name="connsiteY12" fmla="*/ 727827 h 1247429"/>
                <a:gd name="connsiteX13" fmla="*/ 180206 w 2585281"/>
                <a:gd name="connsiteY13" fmla="*/ 162376 h 1247429"/>
                <a:gd name="connsiteX14" fmla="*/ 201219 w 2585281"/>
                <a:gd name="connsiteY14" fmla="*/ 100609 h 1247429"/>
                <a:gd name="connsiteX15" fmla="*/ 100609 w 2585281"/>
                <a:gd name="connsiteY15" fmla="*/ 0 h 1247429"/>
                <a:gd name="connsiteX16" fmla="*/ 0 w 2585281"/>
                <a:gd name="connsiteY16" fmla="*/ 100609 h 1247429"/>
                <a:gd name="connsiteX17" fmla="*/ 101246 w 2585281"/>
                <a:gd name="connsiteY17" fmla="*/ 200582 h 124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5281" h="1247429">
                  <a:moveTo>
                    <a:pt x="101246" y="200582"/>
                  </a:moveTo>
                  <a:cubicBezTo>
                    <a:pt x="119712" y="200582"/>
                    <a:pt x="136905" y="195488"/>
                    <a:pt x="151551" y="187210"/>
                  </a:cubicBezTo>
                  <a:lnTo>
                    <a:pt x="730374" y="766033"/>
                  </a:lnTo>
                  <a:lnTo>
                    <a:pt x="1215591" y="766033"/>
                  </a:lnTo>
                  <a:lnTo>
                    <a:pt x="1615482" y="1165924"/>
                  </a:lnTo>
                  <a:lnTo>
                    <a:pt x="2385973" y="1165924"/>
                  </a:lnTo>
                  <a:cubicBezTo>
                    <a:pt x="2394887" y="1212408"/>
                    <a:pt x="2435641" y="1247430"/>
                    <a:pt x="2484672" y="1247430"/>
                  </a:cubicBezTo>
                  <a:cubicBezTo>
                    <a:pt x="2540071" y="1247430"/>
                    <a:pt x="2585281" y="1202219"/>
                    <a:pt x="2585281" y="1146821"/>
                  </a:cubicBezTo>
                  <a:cubicBezTo>
                    <a:pt x="2585281" y="1091422"/>
                    <a:pt x="2540071" y="1046211"/>
                    <a:pt x="2484672" y="1046211"/>
                  </a:cubicBezTo>
                  <a:cubicBezTo>
                    <a:pt x="2435641" y="1046211"/>
                    <a:pt x="2394887" y="1081233"/>
                    <a:pt x="2385973" y="1127717"/>
                  </a:cubicBezTo>
                  <a:lnTo>
                    <a:pt x="1630765" y="1127717"/>
                  </a:lnTo>
                  <a:lnTo>
                    <a:pt x="1230874" y="727827"/>
                  </a:lnTo>
                  <a:lnTo>
                    <a:pt x="745656" y="727827"/>
                  </a:lnTo>
                  <a:lnTo>
                    <a:pt x="180206" y="162376"/>
                  </a:lnTo>
                  <a:cubicBezTo>
                    <a:pt x="193577" y="145183"/>
                    <a:pt x="201219" y="124170"/>
                    <a:pt x="201219" y="100609"/>
                  </a:cubicBezTo>
                  <a:cubicBezTo>
                    <a:pt x="201219" y="45210"/>
                    <a:pt x="156008" y="0"/>
                    <a:pt x="100609" y="0"/>
                  </a:cubicBezTo>
                  <a:cubicBezTo>
                    <a:pt x="45210" y="0"/>
                    <a:pt x="0" y="45210"/>
                    <a:pt x="0" y="100609"/>
                  </a:cubicBezTo>
                  <a:cubicBezTo>
                    <a:pt x="637" y="155372"/>
                    <a:pt x="45210" y="200582"/>
                    <a:pt x="101246" y="20058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9939980-9B84-A2FF-F220-20FF1F811797}"/>
                </a:ext>
              </a:extLst>
            </p:cNvPr>
            <p:cNvSpPr/>
            <p:nvPr/>
          </p:nvSpPr>
          <p:spPr>
            <a:xfrm flipV="1">
              <a:off x="9497048" y="295700"/>
              <a:ext cx="2696630" cy="1135301"/>
            </a:xfrm>
            <a:custGeom>
              <a:avLst/>
              <a:gdLst>
                <a:gd name="connsiteX0" fmla="*/ 127354 w 5928954"/>
                <a:gd name="connsiteY0" fmla="*/ 254708 h 2496133"/>
                <a:gd name="connsiteX1" fmla="*/ 248976 w 5928954"/>
                <a:gd name="connsiteY1" fmla="*/ 165560 h 2496133"/>
                <a:gd name="connsiteX2" fmla="*/ 1163377 w 5928954"/>
                <a:gd name="connsiteY2" fmla="*/ 165560 h 2496133"/>
                <a:gd name="connsiteX3" fmla="*/ 1463295 w 5928954"/>
                <a:gd name="connsiteY3" fmla="*/ 465478 h 2496133"/>
                <a:gd name="connsiteX4" fmla="*/ 2827254 w 5928954"/>
                <a:gd name="connsiteY4" fmla="*/ 465478 h 2496133"/>
                <a:gd name="connsiteX5" fmla="*/ 3865823 w 5928954"/>
                <a:gd name="connsiteY5" fmla="*/ 1504048 h 2496133"/>
                <a:gd name="connsiteX6" fmla="*/ 3865823 w 5928954"/>
                <a:gd name="connsiteY6" fmla="*/ 2170745 h 2496133"/>
                <a:gd name="connsiteX7" fmla="*/ 4191212 w 5928954"/>
                <a:gd name="connsiteY7" fmla="*/ 2496134 h 2496133"/>
                <a:gd name="connsiteX8" fmla="*/ 5928954 w 5928954"/>
                <a:gd name="connsiteY8" fmla="*/ 2496134 h 2496133"/>
                <a:gd name="connsiteX9" fmla="*/ 5928954 w 5928954"/>
                <a:gd name="connsiteY9" fmla="*/ 2419722 h 2496133"/>
                <a:gd name="connsiteX10" fmla="*/ 4223051 w 5928954"/>
                <a:gd name="connsiteY10" fmla="*/ 2419722 h 2496133"/>
                <a:gd name="connsiteX11" fmla="*/ 3942236 w 5928954"/>
                <a:gd name="connsiteY11" fmla="*/ 2138906 h 2496133"/>
                <a:gd name="connsiteX12" fmla="*/ 3942236 w 5928954"/>
                <a:gd name="connsiteY12" fmla="*/ 1472210 h 2496133"/>
                <a:gd name="connsiteX13" fmla="*/ 2859729 w 5928954"/>
                <a:gd name="connsiteY13" fmla="*/ 389066 h 2496133"/>
                <a:gd name="connsiteX14" fmla="*/ 1495770 w 5928954"/>
                <a:gd name="connsiteY14" fmla="*/ 389066 h 2496133"/>
                <a:gd name="connsiteX15" fmla="*/ 1195852 w 5928954"/>
                <a:gd name="connsiteY15" fmla="*/ 89148 h 2496133"/>
                <a:gd name="connsiteX16" fmla="*/ 248976 w 5928954"/>
                <a:gd name="connsiteY16" fmla="*/ 89148 h 2496133"/>
                <a:gd name="connsiteX17" fmla="*/ 127354 w 5928954"/>
                <a:gd name="connsiteY17" fmla="*/ 0 h 2496133"/>
                <a:gd name="connsiteX18" fmla="*/ 0 w 5928954"/>
                <a:gd name="connsiteY18" fmla="*/ 127354 h 2496133"/>
                <a:gd name="connsiteX19" fmla="*/ 127354 w 5928954"/>
                <a:gd name="connsiteY19" fmla="*/ 254708 h 249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928954" h="2496133">
                  <a:moveTo>
                    <a:pt x="127354" y="254708"/>
                  </a:moveTo>
                  <a:cubicBezTo>
                    <a:pt x="184026" y="254708"/>
                    <a:pt x="232421" y="217138"/>
                    <a:pt x="248976" y="165560"/>
                  </a:cubicBezTo>
                  <a:lnTo>
                    <a:pt x="1163377" y="165560"/>
                  </a:lnTo>
                  <a:lnTo>
                    <a:pt x="1463295" y="465478"/>
                  </a:lnTo>
                  <a:lnTo>
                    <a:pt x="2827254" y="465478"/>
                  </a:lnTo>
                  <a:lnTo>
                    <a:pt x="3865823" y="1504048"/>
                  </a:lnTo>
                  <a:lnTo>
                    <a:pt x="3865823" y="2170745"/>
                  </a:lnTo>
                  <a:lnTo>
                    <a:pt x="4191212" y="2496134"/>
                  </a:lnTo>
                  <a:lnTo>
                    <a:pt x="5928954" y="2496134"/>
                  </a:lnTo>
                  <a:lnTo>
                    <a:pt x="5928954" y="2419722"/>
                  </a:lnTo>
                  <a:lnTo>
                    <a:pt x="4223051" y="2419722"/>
                  </a:lnTo>
                  <a:lnTo>
                    <a:pt x="3942236" y="2138906"/>
                  </a:lnTo>
                  <a:lnTo>
                    <a:pt x="3942236" y="1472210"/>
                  </a:lnTo>
                  <a:lnTo>
                    <a:pt x="2859729" y="389066"/>
                  </a:lnTo>
                  <a:lnTo>
                    <a:pt x="1495770" y="389066"/>
                  </a:lnTo>
                  <a:lnTo>
                    <a:pt x="1195852" y="89148"/>
                  </a:lnTo>
                  <a:lnTo>
                    <a:pt x="248976" y="89148"/>
                  </a:lnTo>
                  <a:cubicBezTo>
                    <a:pt x="232421" y="37569"/>
                    <a:pt x="184663" y="0"/>
                    <a:pt x="127354" y="0"/>
                  </a:cubicBezTo>
                  <a:cubicBezTo>
                    <a:pt x="57309" y="0"/>
                    <a:pt x="0" y="57309"/>
                    <a:pt x="0" y="127354"/>
                  </a:cubicBezTo>
                  <a:cubicBezTo>
                    <a:pt x="0" y="197398"/>
                    <a:pt x="57309" y="254708"/>
                    <a:pt x="127354" y="254708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87F6299-9530-F184-18A8-E3096917FBB3}"/>
                </a:ext>
              </a:extLst>
            </p:cNvPr>
            <p:cNvSpPr/>
            <p:nvPr/>
          </p:nvSpPr>
          <p:spPr>
            <a:xfrm flipV="1">
              <a:off x="11488458" y="480765"/>
              <a:ext cx="706088" cy="2017766"/>
            </a:xfrm>
            <a:custGeom>
              <a:avLst/>
              <a:gdLst>
                <a:gd name="connsiteX0" fmla="*/ 760302 w 1552442"/>
                <a:gd name="connsiteY0" fmla="*/ 4083599 h 4436368"/>
                <a:gd name="connsiteX1" fmla="*/ 584554 w 1552442"/>
                <a:gd name="connsiteY1" fmla="*/ 4240880 h 4436368"/>
                <a:gd name="connsiteX2" fmla="*/ 370600 w 1552442"/>
                <a:gd name="connsiteY2" fmla="*/ 4240880 h 4436368"/>
                <a:gd name="connsiteX3" fmla="*/ 246430 w 1552442"/>
                <a:gd name="connsiteY3" fmla="*/ 4116710 h 4436368"/>
                <a:gd name="connsiteX4" fmla="*/ 246430 w 1552442"/>
                <a:gd name="connsiteY4" fmla="*/ 3648049 h 4436368"/>
                <a:gd name="connsiteX5" fmla="*/ 766670 w 1552442"/>
                <a:gd name="connsiteY5" fmla="*/ 3127808 h 4436368"/>
                <a:gd name="connsiteX6" fmla="*/ 766670 w 1552442"/>
                <a:gd name="connsiteY6" fmla="*/ 1596379 h 4436368"/>
                <a:gd name="connsiteX7" fmla="*/ 119713 w 1552442"/>
                <a:gd name="connsiteY7" fmla="*/ 949422 h 4436368"/>
                <a:gd name="connsiteX8" fmla="*/ 119713 w 1552442"/>
                <a:gd name="connsiteY8" fmla="*/ 199309 h 4436368"/>
                <a:gd name="connsiteX9" fmla="*/ 201219 w 1552442"/>
                <a:gd name="connsiteY9" fmla="*/ 100609 h 4436368"/>
                <a:gd name="connsiteX10" fmla="*/ 100610 w 1552442"/>
                <a:gd name="connsiteY10" fmla="*/ 0 h 4436368"/>
                <a:gd name="connsiteX11" fmla="*/ 0 w 1552442"/>
                <a:gd name="connsiteY11" fmla="*/ 100609 h 4436368"/>
                <a:gd name="connsiteX12" fmla="*/ 81507 w 1552442"/>
                <a:gd name="connsiteY12" fmla="*/ 199309 h 4436368"/>
                <a:gd name="connsiteX13" fmla="*/ 81507 w 1552442"/>
                <a:gd name="connsiteY13" fmla="*/ 965342 h 4436368"/>
                <a:gd name="connsiteX14" fmla="*/ 728464 w 1552442"/>
                <a:gd name="connsiteY14" fmla="*/ 1612299 h 4436368"/>
                <a:gd name="connsiteX15" fmla="*/ 728464 w 1552442"/>
                <a:gd name="connsiteY15" fmla="*/ 3111889 h 4436368"/>
                <a:gd name="connsiteX16" fmla="*/ 208224 w 1552442"/>
                <a:gd name="connsiteY16" fmla="*/ 3632129 h 4436368"/>
                <a:gd name="connsiteX17" fmla="*/ 208224 w 1552442"/>
                <a:gd name="connsiteY17" fmla="*/ 4131993 h 4436368"/>
                <a:gd name="connsiteX18" fmla="*/ 355317 w 1552442"/>
                <a:gd name="connsiteY18" fmla="*/ 4279086 h 4436368"/>
                <a:gd name="connsiteX19" fmla="*/ 585191 w 1552442"/>
                <a:gd name="connsiteY19" fmla="*/ 4279086 h 4436368"/>
                <a:gd name="connsiteX20" fmla="*/ 760939 w 1552442"/>
                <a:gd name="connsiteY20" fmla="*/ 4436368 h 4436368"/>
                <a:gd name="connsiteX21" fmla="*/ 936687 w 1552442"/>
                <a:gd name="connsiteY21" fmla="*/ 4279086 h 4436368"/>
                <a:gd name="connsiteX22" fmla="*/ 1552443 w 1552442"/>
                <a:gd name="connsiteY22" fmla="*/ 4279086 h 4436368"/>
                <a:gd name="connsiteX23" fmla="*/ 1552443 w 1552442"/>
                <a:gd name="connsiteY23" fmla="*/ 4240880 h 4436368"/>
                <a:gd name="connsiteX24" fmla="*/ 936687 w 1552442"/>
                <a:gd name="connsiteY24" fmla="*/ 4240880 h 4436368"/>
                <a:gd name="connsiteX25" fmla="*/ 760302 w 1552442"/>
                <a:gd name="connsiteY25" fmla="*/ 4083599 h 4436368"/>
                <a:gd name="connsiteX26" fmla="*/ 760302 w 1552442"/>
                <a:gd name="connsiteY26" fmla="*/ 4398162 h 4436368"/>
                <a:gd name="connsiteX27" fmla="*/ 623397 w 1552442"/>
                <a:gd name="connsiteY27" fmla="*/ 4279086 h 4436368"/>
                <a:gd name="connsiteX28" fmla="*/ 622124 w 1552442"/>
                <a:gd name="connsiteY28" fmla="*/ 4259983 h 4436368"/>
                <a:gd name="connsiteX29" fmla="*/ 623397 w 1552442"/>
                <a:gd name="connsiteY29" fmla="*/ 4240880 h 4436368"/>
                <a:gd name="connsiteX30" fmla="*/ 760302 w 1552442"/>
                <a:gd name="connsiteY30" fmla="*/ 4121805 h 4436368"/>
                <a:gd name="connsiteX31" fmla="*/ 897207 w 1552442"/>
                <a:gd name="connsiteY31" fmla="*/ 4240880 h 4436368"/>
                <a:gd name="connsiteX32" fmla="*/ 898481 w 1552442"/>
                <a:gd name="connsiteY32" fmla="*/ 4259983 h 4436368"/>
                <a:gd name="connsiteX33" fmla="*/ 897207 w 1552442"/>
                <a:gd name="connsiteY33" fmla="*/ 4279086 h 4436368"/>
                <a:gd name="connsiteX34" fmla="*/ 760302 w 1552442"/>
                <a:gd name="connsiteY34" fmla="*/ 4398162 h 443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552442" h="4436368">
                  <a:moveTo>
                    <a:pt x="760302" y="4083599"/>
                  </a:moveTo>
                  <a:cubicBezTo>
                    <a:pt x="669244" y="4083599"/>
                    <a:pt x="594106" y="4152370"/>
                    <a:pt x="584554" y="4240880"/>
                  </a:cubicBezTo>
                  <a:lnTo>
                    <a:pt x="370600" y="4240880"/>
                  </a:lnTo>
                  <a:lnTo>
                    <a:pt x="246430" y="4116710"/>
                  </a:lnTo>
                  <a:lnTo>
                    <a:pt x="246430" y="3648049"/>
                  </a:lnTo>
                  <a:lnTo>
                    <a:pt x="766670" y="3127808"/>
                  </a:lnTo>
                  <a:lnTo>
                    <a:pt x="766670" y="1596379"/>
                  </a:lnTo>
                  <a:lnTo>
                    <a:pt x="119713" y="949422"/>
                  </a:lnTo>
                  <a:lnTo>
                    <a:pt x="119713" y="199309"/>
                  </a:lnTo>
                  <a:cubicBezTo>
                    <a:pt x="166197" y="190394"/>
                    <a:pt x="201219" y="149641"/>
                    <a:pt x="201219" y="100609"/>
                  </a:cubicBezTo>
                  <a:cubicBezTo>
                    <a:pt x="201219" y="45211"/>
                    <a:pt x="156008" y="0"/>
                    <a:pt x="100610" y="0"/>
                  </a:cubicBezTo>
                  <a:cubicBezTo>
                    <a:pt x="45210" y="0"/>
                    <a:pt x="0" y="45211"/>
                    <a:pt x="0" y="100609"/>
                  </a:cubicBezTo>
                  <a:cubicBezTo>
                    <a:pt x="0" y="149641"/>
                    <a:pt x="35022" y="190394"/>
                    <a:pt x="81507" y="199309"/>
                  </a:cubicBezTo>
                  <a:lnTo>
                    <a:pt x="81507" y="965342"/>
                  </a:lnTo>
                  <a:lnTo>
                    <a:pt x="728464" y="1612299"/>
                  </a:lnTo>
                  <a:lnTo>
                    <a:pt x="728464" y="3111889"/>
                  </a:lnTo>
                  <a:lnTo>
                    <a:pt x="208224" y="3632129"/>
                  </a:lnTo>
                  <a:lnTo>
                    <a:pt x="208224" y="4131993"/>
                  </a:lnTo>
                  <a:lnTo>
                    <a:pt x="355317" y="4279086"/>
                  </a:lnTo>
                  <a:lnTo>
                    <a:pt x="585191" y="4279086"/>
                  </a:lnTo>
                  <a:cubicBezTo>
                    <a:pt x="594742" y="4367597"/>
                    <a:pt x="669881" y="4436368"/>
                    <a:pt x="760939" y="4436368"/>
                  </a:cubicBezTo>
                  <a:cubicBezTo>
                    <a:pt x="851997" y="4436368"/>
                    <a:pt x="927135" y="4367597"/>
                    <a:pt x="936687" y="4279086"/>
                  </a:cubicBezTo>
                  <a:lnTo>
                    <a:pt x="1552443" y="4279086"/>
                  </a:lnTo>
                  <a:lnTo>
                    <a:pt x="1552443" y="4240880"/>
                  </a:lnTo>
                  <a:lnTo>
                    <a:pt x="936687" y="4240880"/>
                  </a:lnTo>
                  <a:cubicBezTo>
                    <a:pt x="926499" y="4152370"/>
                    <a:pt x="851360" y="4083599"/>
                    <a:pt x="760302" y="4083599"/>
                  </a:cubicBezTo>
                  <a:close/>
                  <a:moveTo>
                    <a:pt x="760302" y="4398162"/>
                  </a:moveTo>
                  <a:cubicBezTo>
                    <a:pt x="690258" y="4398162"/>
                    <a:pt x="632948" y="4346584"/>
                    <a:pt x="623397" y="4279086"/>
                  </a:cubicBezTo>
                  <a:cubicBezTo>
                    <a:pt x="622760" y="4272719"/>
                    <a:pt x="622124" y="4266351"/>
                    <a:pt x="622124" y="4259983"/>
                  </a:cubicBezTo>
                  <a:cubicBezTo>
                    <a:pt x="622124" y="4253616"/>
                    <a:pt x="622760" y="4247248"/>
                    <a:pt x="623397" y="4240880"/>
                  </a:cubicBezTo>
                  <a:cubicBezTo>
                    <a:pt x="632948" y="4173383"/>
                    <a:pt x="690258" y="4121805"/>
                    <a:pt x="760302" y="4121805"/>
                  </a:cubicBezTo>
                  <a:cubicBezTo>
                    <a:pt x="830347" y="4121805"/>
                    <a:pt x="887656" y="4173383"/>
                    <a:pt x="897207" y="4240880"/>
                  </a:cubicBezTo>
                  <a:cubicBezTo>
                    <a:pt x="897844" y="4247248"/>
                    <a:pt x="898481" y="4253616"/>
                    <a:pt x="898481" y="4259983"/>
                  </a:cubicBezTo>
                  <a:cubicBezTo>
                    <a:pt x="898481" y="4266351"/>
                    <a:pt x="897844" y="4272719"/>
                    <a:pt x="897207" y="4279086"/>
                  </a:cubicBezTo>
                  <a:cubicBezTo>
                    <a:pt x="888293" y="4346584"/>
                    <a:pt x="830347" y="4398162"/>
                    <a:pt x="760302" y="4398162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514A23A-02ED-1FEB-9A9C-0591A2EB331E}"/>
                </a:ext>
              </a:extLst>
            </p:cNvPr>
            <p:cNvSpPr/>
            <p:nvPr/>
          </p:nvSpPr>
          <p:spPr>
            <a:xfrm flipV="1">
              <a:off x="9196135" y="598350"/>
              <a:ext cx="1863400" cy="338563"/>
            </a:xfrm>
            <a:custGeom>
              <a:avLst/>
              <a:gdLst>
                <a:gd name="connsiteX0" fmla="*/ 99973 w 4096970"/>
                <a:gd name="connsiteY0" fmla="*/ 475030 h 744382"/>
                <a:gd name="connsiteX1" fmla="*/ 199309 w 4096970"/>
                <a:gd name="connsiteY1" fmla="*/ 389066 h 744382"/>
                <a:gd name="connsiteX2" fmla="*/ 1495770 w 4096970"/>
                <a:gd name="connsiteY2" fmla="*/ 389066 h 744382"/>
                <a:gd name="connsiteX3" fmla="*/ 1845993 w 4096970"/>
                <a:gd name="connsiteY3" fmla="*/ 38843 h 744382"/>
                <a:gd name="connsiteX4" fmla="*/ 3364050 w 4096970"/>
                <a:gd name="connsiteY4" fmla="*/ 38843 h 744382"/>
                <a:gd name="connsiteX5" fmla="*/ 3912944 w 4096970"/>
                <a:gd name="connsiteY5" fmla="*/ 587738 h 744382"/>
                <a:gd name="connsiteX6" fmla="*/ 3895752 w 4096970"/>
                <a:gd name="connsiteY6" fmla="*/ 643774 h 744382"/>
                <a:gd name="connsiteX7" fmla="*/ 3996361 w 4096970"/>
                <a:gd name="connsiteY7" fmla="*/ 744383 h 744382"/>
                <a:gd name="connsiteX8" fmla="*/ 4096971 w 4096970"/>
                <a:gd name="connsiteY8" fmla="*/ 643774 h 744382"/>
                <a:gd name="connsiteX9" fmla="*/ 3996361 w 4096970"/>
                <a:gd name="connsiteY9" fmla="*/ 543164 h 744382"/>
                <a:gd name="connsiteX10" fmla="*/ 3940326 w 4096970"/>
                <a:gd name="connsiteY10" fmla="*/ 560357 h 744382"/>
                <a:gd name="connsiteX11" fmla="*/ 3379969 w 4096970"/>
                <a:gd name="connsiteY11" fmla="*/ 0 h 744382"/>
                <a:gd name="connsiteX12" fmla="*/ 1830074 w 4096970"/>
                <a:gd name="connsiteY12" fmla="*/ 0 h 744382"/>
                <a:gd name="connsiteX13" fmla="*/ 1479851 w 4096970"/>
                <a:gd name="connsiteY13" fmla="*/ 350223 h 744382"/>
                <a:gd name="connsiteX14" fmla="*/ 198035 w 4096970"/>
                <a:gd name="connsiteY14" fmla="*/ 350223 h 744382"/>
                <a:gd name="connsiteX15" fmla="*/ 100609 w 4096970"/>
                <a:gd name="connsiteY15" fmla="*/ 273174 h 744382"/>
                <a:gd name="connsiteX16" fmla="*/ 0 w 4096970"/>
                <a:gd name="connsiteY16" fmla="*/ 373783 h 744382"/>
                <a:gd name="connsiteX17" fmla="*/ 99973 w 4096970"/>
                <a:gd name="connsiteY17" fmla="*/ 475030 h 74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96970" h="744382">
                  <a:moveTo>
                    <a:pt x="99973" y="475030"/>
                  </a:moveTo>
                  <a:cubicBezTo>
                    <a:pt x="150277" y="475030"/>
                    <a:pt x="192304" y="437460"/>
                    <a:pt x="199309" y="389066"/>
                  </a:cubicBezTo>
                  <a:lnTo>
                    <a:pt x="1495770" y="389066"/>
                  </a:lnTo>
                  <a:lnTo>
                    <a:pt x="1845993" y="38843"/>
                  </a:lnTo>
                  <a:lnTo>
                    <a:pt x="3364050" y="38843"/>
                  </a:lnTo>
                  <a:lnTo>
                    <a:pt x="3912944" y="587738"/>
                  </a:lnTo>
                  <a:cubicBezTo>
                    <a:pt x="3902119" y="603657"/>
                    <a:pt x="3895752" y="623397"/>
                    <a:pt x="3895752" y="643774"/>
                  </a:cubicBezTo>
                  <a:cubicBezTo>
                    <a:pt x="3895752" y="699172"/>
                    <a:pt x="3940962" y="744383"/>
                    <a:pt x="3996361" y="744383"/>
                  </a:cubicBezTo>
                  <a:cubicBezTo>
                    <a:pt x="4051760" y="744383"/>
                    <a:pt x="4096971" y="699172"/>
                    <a:pt x="4096971" y="643774"/>
                  </a:cubicBezTo>
                  <a:cubicBezTo>
                    <a:pt x="4096971" y="588375"/>
                    <a:pt x="4051760" y="543164"/>
                    <a:pt x="3996361" y="543164"/>
                  </a:cubicBezTo>
                  <a:cubicBezTo>
                    <a:pt x="3975348" y="543164"/>
                    <a:pt x="3956245" y="549531"/>
                    <a:pt x="3940326" y="560357"/>
                  </a:cubicBezTo>
                  <a:lnTo>
                    <a:pt x="3379969" y="0"/>
                  </a:lnTo>
                  <a:lnTo>
                    <a:pt x="1830074" y="0"/>
                  </a:lnTo>
                  <a:lnTo>
                    <a:pt x="1479851" y="350223"/>
                  </a:lnTo>
                  <a:lnTo>
                    <a:pt x="198035" y="350223"/>
                  </a:lnTo>
                  <a:cubicBezTo>
                    <a:pt x="187210" y="306286"/>
                    <a:pt x="147730" y="273174"/>
                    <a:pt x="100609" y="273174"/>
                  </a:cubicBezTo>
                  <a:cubicBezTo>
                    <a:pt x="45211" y="273174"/>
                    <a:pt x="0" y="318384"/>
                    <a:pt x="0" y="373783"/>
                  </a:cubicBezTo>
                  <a:cubicBezTo>
                    <a:pt x="0" y="430456"/>
                    <a:pt x="44574" y="475030"/>
                    <a:pt x="99973" y="475030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475B77A-6772-D7EC-E60C-7C18D90B8A32}"/>
                </a:ext>
              </a:extLst>
            </p:cNvPr>
            <p:cNvSpPr/>
            <p:nvPr/>
          </p:nvSpPr>
          <p:spPr>
            <a:xfrm flipV="1">
              <a:off x="8756495" y="598930"/>
              <a:ext cx="1972296" cy="289617"/>
            </a:xfrm>
            <a:custGeom>
              <a:avLst/>
              <a:gdLst>
                <a:gd name="connsiteX0" fmla="*/ 100610 w 4336395"/>
                <a:gd name="connsiteY0" fmla="*/ 636769 h 636768"/>
                <a:gd name="connsiteX1" fmla="*/ 199309 w 4336395"/>
                <a:gd name="connsiteY1" fmla="*/ 555263 h 636768"/>
                <a:gd name="connsiteX2" fmla="*/ 2555990 w 4336395"/>
                <a:gd name="connsiteY2" fmla="*/ 555263 h 636768"/>
                <a:gd name="connsiteX3" fmla="*/ 2991540 w 4336395"/>
                <a:gd name="connsiteY3" fmla="*/ 119712 h 636768"/>
                <a:gd name="connsiteX4" fmla="*/ 4137087 w 4336395"/>
                <a:gd name="connsiteY4" fmla="*/ 119712 h 636768"/>
                <a:gd name="connsiteX5" fmla="*/ 4235786 w 4336395"/>
                <a:gd name="connsiteY5" fmla="*/ 201219 h 636768"/>
                <a:gd name="connsiteX6" fmla="*/ 4336396 w 4336395"/>
                <a:gd name="connsiteY6" fmla="*/ 100609 h 636768"/>
                <a:gd name="connsiteX7" fmla="*/ 4235786 w 4336395"/>
                <a:gd name="connsiteY7" fmla="*/ 0 h 636768"/>
                <a:gd name="connsiteX8" fmla="*/ 4137087 w 4336395"/>
                <a:gd name="connsiteY8" fmla="*/ 81506 h 636768"/>
                <a:gd name="connsiteX9" fmla="*/ 2975621 w 4336395"/>
                <a:gd name="connsiteY9" fmla="*/ 81506 h 636768"/>
                <a:gd name="connsiteX10" fmla="*/ 2540071 w 4336395"/>
                <a:gd name="connsiteY10" fmla="*/ 517056 h 636768"/>
                <a:gd name="connsiteX11" fmla="*/ 199309 w 4336395"/>
                <a:gd name="connsiteY11" fmla="*/ 517056 h 636768"/>
                <a:gd name="connsiteX12" fmla="*/ 100610 w 4336395"/>
                <a:gd name="connsiteY12" fmla="*/ 435550 h 636768"/>
                <a:gd name="connsiteX13" fmla="*/ 0 w 4336395"/>
                <a:gd name="connsiteY13" fmla="*/ 536159 h 636768"/>
                <a:gd name="connsiteX14" fmla="*/ 100610 w 4336395"/>
                <a:gd name="connsiteY14" fmla="*/ 636769 h 63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6395" h="636768">
                  <a:moveTo>
                    <a:pt x="100610" y="636769"/>
                  </a:moveTo>
                  <a:cubicBezTo>
                    <a:pt x="149641" y="636769"/>
                    <a:pt x="190394" y="601747"/>
                    <a:pt x="199309" y="555263"/>
                  </a:cubicBezTo>
                  <a:lnTo>
                    <a:pt x="2555990" y="555263"/>
                  </a:lnTo>
                  <a:lnTo>
                    <a:pt x="2991540" y="119712"/>
                  </a:lnTo>
                  <a:lnTo>
                    <a:pt x="4137087" y="119712"/>
                  </a:lnTo>
                  <a:cubicBezTo>
                    <a:pt x="4146002" y="166197"/>
                    <a:pt x="4186755" y="201219"/>
                    <a:pt x="4235786" y="201219"/>
                  </a:cubicBezTo>
                  <a:cubicBezTo>
                    <a:pt x="4291185" y="201219"/>
                    <a:pt x="4336396" y="156008"/>
                    <a:pt x="4336396" y="100609"/>
                  </a:cubicBezTo>
                  <a:cubicBezTo>
                    <a:pt x="4336396" y="45210"/>
                    <a:pt x="4291185" y="0"/>
                    <a:pt x="4235786" y="0"/>
                  </a:cubicBezTo>
                  <a:cubicBezTo>
                    <a:pt x="4186755" y="0"/>
                    <a:pt x="4146002" y="35022"/>
                    <a:pt x="4137087" y="81506"/>
                  </a:cubicBezTo>
                  <a:lnTo>
                    <a:pt x="2975621" y="81506"/>
                  </a:lnTo>
                  <a:lnTo>
                    <a:pt x="2540071" y="517056"/>
                  </a:lnTo>
                  <a:lnTo>
                    <a:pt x="199309" y="517056"/>
                  </a:lnTo>
                  <a:cubicBezTo>
                    <a:pt x="190394" y="470572"/>
                    <a:pt x="149641" y="435550"/>
                    <a:pt x="100610" y="435550"/>
                  </a:cubicBezTo>
                  <a:cubicBezTo>
                    <a:pt x="45211" y="435550"/>
                    <a:pt x="0" y="480760"/>
                    <a:pt x="0" y="536159"/>
                  </a:cubicBezTo>
                  <a:cubicBezTo>
                    <a:pt x="0" y="591558"/>
                    <a:pt x="45211" y="636769"/>
                    <a:pt x="100610" y="636769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F3E2146-753D-9983-B8DA-86D04B43F176}"/>
                </a:ext>
              </a:extLst>
            </p:cNvPr>
            <p:cNvSpPr/>
            <p:nvPr/>
          </p:nvSpPr>
          <p:spPr>
            <a:xfrm flipV="1">
              <a:off x="8563320" y="19984"/>
              <a:ext cx="2683307" cy="653377"/>
            </a:xfrm>
            <a:custGeom>
              <a:avLst/>
              <a:gdLst>
                <a:gd name="connsiteX0" fmla="*/ 100609 w 5899662"/>
                <a:gd name="connsiteY0" fmla="*/ 448285 h 1436550"/>
                <a:gd name="connsiteX1" fmla="*/ 199309 w 5899662"/>
                <a:gd name="connsiteY1" fmla="*/ 368052 h 1436550"/>
                <a:gd name="connsiteX2" fmla="*/ 1098426 w 5899662"/>
                <a:gd name="connsiteY2" fmla="*/ 368052 h 1436550"/>
                <a:gd name="connsiteX3" fmla="*/ 1274174 w 5899662"/>
                <a:gd name="connsiteY3" fmla="*/ 525334 h 1436550"/>
                <a:gd name="connsiteX4" fmla="*/ 1449923 w 5899662"/>
                <a:gd name="connsiteY4" fmla="*/ 368052 h 1436550"/>
                <a:gd name="connsiteX5" fmla="*/ 3132902 w 5899662"/>
                <a:gd name="connsiteY5" fmla="*/ 368052 h 1436550"/>
                <a:gd name="connsiteX6" fmla="*/ 3462112 w 5899662"/>
                <a:gd name="connsiteY6" fmla="*/ 38843 h 1436550"/>
                <a:gd name="connsiteX7" fmla="*/ 4722914 w 5899662"/>
                <a:gd name="connsiteY7" fmla="*/ 38843 h 1436550"/>
                <a:gd name="connsiteX8" fmla="*/ 5229783 w 5899662"/>
                <a:gd name="connsiteY8" fmla="*/ 545711 h 1436550"/>
                <a:gd name="connsiteX9" fmla="*/ 5229783 w 5899662"/>
                <a:gd name="connsiteY9" fmla="*/ 794051 h 1436550"/>
                <a:gd name="connsiteX10" fmla="*/ 5872282 w 5899662"/>
                <a:gd name="connsiteY10" fmla="*/ 1436551 h 1436550"/>
                <a:gd name="connsiteX11" fmla="*/ 5899663 w 5899662"/>
                <a:gd name="connsiteY11" fmla="*/ 1409169 h 1436550"/>
                <a:gd name="connsiteX12" fmla="*/ 5268625 w 5899662"/>
                <a:gd name="connsiteY12" fmla="*/ 778132 h 1436550"/>
                <a:gd name="connsiteX13" fmla="*/ 5268625 w 5899662"/>
                <a:gd name="connsiteY13" fmla="*/ 529792 h 1436550"/>
                <a:gd name="connsiteX14" fmla="*/ 4738834 w 5899662"/>
                <a:gd name="connsiteY14" fmla="*/ 0 h 1436550"/>
                <a:gd name="connsiteX15" fmla="*/ 3446193 w 5899662"/>
                <a:gd name="connsiteY15" fmla="*/ 0 h 1436550"/>
                <a:gd name="connsiteX16" fmla="*/ 3116983 w 5899662"/>
                <a:gd name="connsiteY16" fmla="*/ 329210 h 1436550"/>
                <a:gd name="connsiteX17" fmla="*/ 1449923 w 5899662"/>
                <a:gd name="connsiteY17" fmla="*/ 329210 h 1436550"/>
                <a:gd name="connsiteX18" fmla="*/ 1274174 w 5899662"/>
                <a:gd name="connsiteY18" fmla="*/ 171928 h 1436550"/>
                <a:gd name="connsiteX19" fmla="*/ 1098426 w 5899662"/>
                <a:gd name="connsiteY19" fmla="*/ 329210 h 1436550"/>
                <a:gd name="connsiteX20" fmla="*/ 199309 w 5899662"/>
                <a:gd name="connsiteY20" fmla="*/ 329210 h 1436550"/>
                <a:gd name="connsiteX21" fmla="*/ 100609 w 5899662"/>
                <a:gd name="connsiteY21" fmla="*/ 247066 h 1436550"/>
                <a:gd name="connsiteX22" fmla="*/ 0 w 5899662"/>
                <a:gd name="connsiteY22" fmla="*/ 347676 h 1436550"/>
                <a:gd name="connsiteX23" fmla="*/ 100609 w 5899662"/>
                <a:gd name="connsiteY23" fmla="*/ 448285 h 1436550"/>
                <a:gd name="connsiteX24" fmla="*/ 1274174 w 5899662"/>
                <a:gd name="connsiteY24" fmla="*/ 210134 h 1436550"/>
                <a:gd name="connsiteX25" fmla="*/ 1411080 w 5899662"/>
                <a:gd name="connsiteY25" fmla="*/ 329210 h 1436550"/>
                <a:gd name="connsiteX26" fmla="*/ 1412353 w 5899662"/>
                <a:gd name="connsiteY26" fmla="*/ 348313 h 1436550"/>
                <a:gd name="connsiteX27" fmla="*/ 1411080 w 5899662"/>
                <a:gd name="connsiteY27" fmla="*/ 367416 h 1436550"/>
                <a:gd name="connsiteX28" fmla="*/ 1274174 w 5899662"/>
                <a:gd name="connsiteY28" fmla="*/ 486492 h 1436550"/>
                <a:gd name="connsiteX29" fmla="*/ 1137269 w 5899662"/>
                <a:gd name="connsiteY29" fmla="*/ 367416 h 1436550"/>
                <a:gd name="connsiteX30" fmla="*/ 1135996 w 5899662"/>
                <a:gd name="connsiteY30" fmla="*/ 348313 h 1436550"/>
                <a:gd name="connsiteX31" fmla="*/ 1137269 w 5899662"/>
                <a:gd name="connsiteY31" fmla="*/ 329210 h 1436550"/>
                <a:gd name="connsiteX32" fmla="*/ 1274174 w 5899662"/>
                <a:gd name="connsiteY32" fmla="*/ 210134 h 14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899662" h="1436550">
                  <a:moveTo>
                    <a:pt x="100609" y="448285"/>
                  </a:moveTo>
                  <a:cubicBezTo>
                    <a:pt x="149004" y="448285"/>
                    <a:pt x="189757" y="413900"/>
                    <a:pt x="199309" y="368052"/>
                  </a:cubicBezTo>
                  <a:lnTo>
                    <a:pt x="1098426" y="368052"/>
                  </a:lnTo>
                  <a:cubicBezTo>
                    <a:pt x="1107978" y="456563"/>
                    <a:pt x="1183116" y="525334"/>
                    <a:pt x="1274174" y="525334"/>
                  </a:cubicBezTo>
                  <a:cubicBezTo>
                    <a:pt x="1365232" y="525334"/>
                    <a:pt x="1440371" y="456563"/>
                    <a:pt x="1449923" y="368052"/>
                  </a:cubicBezTo>
                  <a:lnTo>
                    <a:pt x="3132902" y="368052"/>
                  </a:lnTo>
                  <a:lnTo>
                    <a:pt x="3462112" y="38843"/>
                  </a:lnTo>
                  <a:lnTo>
                    <a:pt x="4722914" y="38843"/>
                  </a:lnTo>
                  <a:lnTo>
                    <a:pt x="5229783" y="545711"/>
                  </a:lnTo>
                  <a:lnTo>
                    <a:pt x="5229783" y="794051"/>
                  </a:lnTo>
                  <a:lnTo>
                    <a:pt x="5872282" y="1436551"/>
                  </a:lnTo>
                  <a:lnTo>
                    <a:pt x="5899663" y="1409169"/>
                  </a:lnTo>
                  <a:lnTo>
                    <a:pt x="5268625" y="778132"/>
                  </a:lnTo>
                  <a:lnTo>
                    <a:pt x="5268625" y="529792"/>
                  </a:lnTo>
                  <a:lnTo>
                    <a:pt x="4738834" y="0"/>
                  </a:lnTo>
                  <a:lnTo>
                    <a:pt x="3446193" y="0"/>
                  </a:lnTo>
                  <a:lnTo>
                    <a:pt x="3116983" y="329210"/>
                  </a:lnTo>
                  <a:lnTo>
                    <a:pt x="1449923" y="329210"/>
                  </a:lnTo>
                  <a:cubicBezTo>
                    <a:pt x="1440371" y="240699"/>
                    <a:pt x="1365232" y="171928"/>
                    <a:pt x="1274174" y="171928"/>
                  </a:cubicBezTo>
                  <a:cubicBezTo>
                    <a:pt x="1183116" y="171928"/>
                    <a:pt x="1107978" y="240699"/>
                    <a:pt x="1098426" y="329210"/>
                  </a:cubicBezTo>
                  <a:lnTo>
                    <a:pt x="199309" y="329210"/>
                  </a:lnTo>
                  <a:cubicBezTo>
                    <a:pt x="191031" y="282089"/>
                    <a:pt x="149641" y="247066"/>
                    <a:pt x="100609" y="247066"/>
                  </a:cubicBezTo>
                  <a:cubicBezTo>
                    <a:pt x="45211" y="247066"/>
                    <a:pt x="0" y="292277"/>
                    <a:pt x="0" y="347676"/>
                  </a:cubicBezTo>
                  <a:cubicBezTo>
                    <a:pt x="637" y="403075"/>
                    <a:pt x="45211" y="448285"/>
                    <a:pt x="100609" y="448285"/>
                  </a:cubicBezTo>
                  <a:close/>
                  <a:moveTo>
                    <a:pt x="1274174" y="210134"/>
                  </a:moveTo>
                  <a:cubicBezTo>
                    <a:pt x="1344219" y="210134"/>
                    <a:pt x="1402165" y="262349"/>
                    <a:pt x="1411080" y="329210"/>
                  </a:cubicBezTo>
                  <a:cubicBezTo>
                    <a:pt x="1411716" y="335577"/>
                    <a:pt x="1412353" y="341945"/>
                    <a:pt x="1412353" y="348313"/>
                  </a:cubicBezTo>
                  <a:cubicBezTo>
                    <a:pt x="1412353" y="354680"/>
                    <a:pt x="1411716" y="361048"/>
                    <a:pt x="1411080" y="367416"/>
                  </a:cubicBezTo>
                  <a:cubicBezTo>
                    <a:pt x="1401528" y="434276"/>
                    <a:pt x="1343582" y="486492"/>
                    <a:pt x="1274174" y="486492"/>
                  </a:cubicBezTo>
                  <a:cubicBezTo>
                    <a:pt x="1204130" y="486492"/>
                    <a:pt x="1146821" y="434913"/>
                    <a:pt x="1137269" y="367416"/>
                  </a:cubicBezTo>
                  <a:cubicBezTo>
                    <a:pt x="1136632" y="361048"/>
                    <a:pt x="1135996" y="354680"/>
                    <a:pt x="1135996" y="348313"/>
                  </a:cubicBezTo>
                  <a:cubicBezTo>
                    <a:pt x="1135996" y="341945"/>
                    <a:pt x="1136632" y="335577"/>
                    <a:pt x="1137269" y="329210"/>
                  </a:cubicBezTo>
                  <a:cubicBezTo>
                    <a:pt x="1146184" y="262349"/>
                    <a:pt x="1204130" y="210134"/>
                    <a:pt x="1274174" y="210134"/>
                  </a:cubicBezTo>
                  <a:close/>
                </a:path>
              </a:pathLst>
            </a:custGeom>
            <a:grpFill/>
            <a:ln w="636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ura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9EF9AEE-AB54-C455-2B99-6086A07C8AEA}"/>
              </a:ext>
            </a:extLst>
          </p:cNvPr>
          <p:cNvSpPr txBox="1"/>
          <p:nvPr/>
        </p:nvSpPr>
        <p:spPr>
          <a:xfrm>
            <a:off x="4950028" y="5341273"/>
            <a:ext cx="1808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Nice transitio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A71462-1A13-6BDB-BA19-9F81006A92B2}"/>
              </a:ext>
            </a:extLst>
          </p:cNvPr>
          <p:cNvSpPr txBox="1"/>
          <p:nvPr/>
        </p:nvSpPr>
        <p:spPr>
          <a:xfrm>
            <a:off x="8840946" y="5341273"/>
            <a:ext cx="1689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Montserrat Medium" panose="000006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Jura"/>
                <a:ea typeface="+mn-ea"/>
                <a:cs typeface="+mn-cs"/>
              </a:rPr>
              <a:t>Make it bett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Jur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950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uman eye seen through transparent digital chart">
            <a:extLst>
              <a:ext uri="{FF2B5EF4-FFF2-40B4-BE49-F238E27FC236}">
                <a16:creationId xmlns:a16="http://schemas.microsoft.com/office/drawing/2014/main" id="{DD25E757-38E6-5925-211D-7FE66C95AA7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" b="1924"/>
          <a:stretch>
            <a:fillRect/>
          </a:stretch>
        </p:blipFill>
        <p:spPr/>
      </p:pic>
      <p:pic>
        <p:nvPicPr>
          <p:cNvPr id="11" name="Picture Placeholder 10" descr="Astronaut in a spacesuit in a white futuristic tunnel">
            <a:extLst>
              <a:ext uri="{FF2B5EF4-FFF2-40B4-BE49-F238E27FC236}">
                <a16:creationId xmlns:a16="http://schemas.microsoft.com/office/drawing/2014/main" id="{8E5ECD85-02F8-3705-BCB1-5B2339723E9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0" r="17280"/>
          <a:stretch>
            <a:fillRect/>
          </a:stretch>
        </p:blipFill>
        <p:spPr/>
      </p:pic>
      <p:pic>
        <p:nvPicPr>
          <p:cNvPr id="13" name="Picture Placeholder 12" descr="Car made of green leaves disappearing">
            <a:extLst>
              <a:ext uri="{FF2B5EF4-FFF2-40B4-BE49-F238E27FC236}">
                <a16:creationId xmlns:a16="http://schemas.microsoft.com/office/drawing/2014/main" id="{E3AFE0A7-3E9B-C32D-48A1-8D5F108CFA2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55" b="10755"/>
          <a:stretch>
            <a:fillRect/>
          </a:stretch>
        </p:blipFill>
        <p:spPr/>
      </p:pic>
      <p:pic>
        <p:nvPicPr>
          <p:cNvPr id="15" name="Picture Placeholder 14" descr="Businesswoman looking out of window">
            <a:extLst>
              <a:ext uri="{FF2B5EF4-FFF2-40B4-BE49-F238E27FC236}">
                <a16:creationId xmlns:a16="http://schemas.microsoft.com/office/drawing/2014/main" id="{D6B995CA-EE77-B250-04C6-DF5E27D95E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r="17233"/>
          <a:stretch>
            <a:fillRect/>
          </a:stretch>
        </p:blipFill>
        <p:spPr/>
      </p:pic>
      <p:pic>
        <p:nvPicPr>
          <p:cNvPr id="17" name="Picture Placeholder 16" descr="Person examining prototype">
            <a:extLst>
              <a:ext uri="{FF2B5EF4-FFF2-40B4-BE49-F238E27FC236}">
                <a16:creationId xmlns:a16="http://schemas.microsoft.com/office/drawing/2014/main" id="{7F5D5AF9-F2F7-631B-35EF-17C00808C3C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96" r="24496"/>
          <a:stretch>
            <a:fillRect/>
          </a:stretch>
        </p:blipFill>
        <p:spPr/>
      </p:pic>
      <p:pic>
        <p:nvPicPr>
          <p:cNvPr id="19" name="Picture Placeholder 18" descr="3D face graphic">
            <a:extLst>
              <a:ext uri="{FF2B5EF4-FFF2-40B4-BE49-F238E27FC236}">
                <a16:creationId xmlns:a16="http://schemas.microsoft.com/office/drawing/2014/main" id="{D90C7C37-408D-E018-AF15-083127F5DCC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6" b="6226"/>
          <a:stretch>
            <a:fillRect/>
          </a:stretch>
        </p:blipFill>
        <p:spPr/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28ED0295-32D0-58F6-9515-BD78E2509F40}"/>
              </a:ext>
            </a:extLst>
          </p:cNvPr>
          <p:cNvGrpSpPr/>
          <p:nvPr/>
        </p:nvGrpSpPr>
        <p:grpSpPr>
          <a:xfrm>
            <a:off x="3181851" y="3489203"/>
            <a:ext cx="5828298" cy="1287192"/>
            <a:chOff x="3035300" y="3581400"/>
            <a:chExt cx="6121400" cy="135192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B267851-0CC7-F24E-D0B7-2A362DCEBD62}"/>
                </a:ext>
              </a:extLst>
            </p:cNvPr>
            <p:cNvSpPr/>
            <p:nvPr/>
          </p:nvSpPr>
          <p:spPr>
            <a:xfrm>
              <a:off x="3035300" y="3581400"/>
              <a:ext cx="6121400" cy="1351924"/>
            </a:xfrm>
            <a:prstGeom prst="rect">
              <a:avLst/>
            </a:prstGeom>
            <a:solidFill>
              <a:schemeClr val="accent1">
                <a:alpha val="95000"/>
              </a:schemeClr>
            </a:solidFill>
            <a:ln>
              <a:noFill/>
            </a:ln>
            <a:effectLst>
              <a:outerShdw blurRad="431800" sx="106000" sy="106000" algn="ctr" rotWithShape="0">
                <a:prstClr val="black">
                  <a:alpha val="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C7D910B-0781-47BB-5F93-C995962954AD}"/>
                </a:ext>
              </a:extLst>
            </p:cNvPr>
            <p:cNvSpPr txBox="1"/>
            <p:nvPr/>
          </p:nvSpPr>
          <p:spPr>
            <a:xfrm>
              <a:off x="3225800" y="3929597"/>
              <a:ext cx="5740400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5400" b="1" dirty="0">
                  <a:solidFill>
                    <a:srgbClr val="FFFFFF"/>
                  </a:solidFill>
                  <a:latin typeface="Jura"/>
                  <a:ea typeface="Roboto" panose="02000000000000000000" pitchFamily="2" charset="0"/>
                </a:rPr>
                <a:t>Future is now</a:t>
              </a:r>
              <a:endPara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ura"/>
                <a:ea typeface="Roboto" panose="02000000000000000000" pitchFamily="2" charset="0"/>
                <a:cs typeface="+mn-cs"/>
              </a:endParaRPr>
            </a:p>
          </p:txBody>
        </p:sp>
      </p:grpSp>
      <p:pic>
        <p:nvPicPr>
          <p:cNvPr id="8" name="Picture Placeholder 44" descr="A person sitting in an airplane seat using a laptop computer">
            <a:extLst>
              <a:ext uri="{FF2B5EF4-FFF2-40B4-BE49-F238E27FC236}">
                <a16:creationId xmlns:a16="http://schemas.microsoft.com/office/drawing/2014/main" id="{9F41BA33-B8AC-CE48-4FF9-66EC895EF4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2" r="16682"/>
          <a:stretch>
            <a:fillRect/>
          </a:stretch>
        </p:blipFill>
        <p:spPr>
          <a:xfrm>
            <a:off x="7666875" y="-3438394"/>
            <a:ext cx="3428818" cy="3430152"/>
          </a:xfrm>
          <a:custGeom>
            <a:avLst/>
            <a:gdLst>
              <a:gd name="connsiteX0" fmla="*/ 0 w 3428818"/>
              <a:gd name="connsiteY0" fmla="*/ 0 h 3430152"/>
              <a:gd name="connsiteX1" fmla="*/ 2857337 w 3428818"/>
              <a:gd name="connsiteY1" fmla="*/ 0 h 3430152"/>
              <a:gd name="connsiteX2" fmla="*/ 3428818 w 3428818"/>
              <a:gd name="connsiteY2" fmla="*/ 571481 h 3430152"/>
              <a:gd name="connsiteX3" fmla="*/ 3428818 w 3428818"/>
              <a:gd name="connsiteY3" fmla="*/ 3430152 h 3430152"/>
              <a:gd name="connsiteX4" fmla="*/ 571482 w 3428818"/>
              <a:gd name="connsiteY4" fmla="*/ 3430152 h 3430152"/>
              <a:gd name="connsiteX5" fmla="*/ 0 w 3428818"/>
              <a:gd name="connsiteY5" fmla="*/ 2858671 h 3430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28818" h="3430152">
                <a:moveTo>
                  <a:pt x="0" y="0"/>
                </a:moveTo>
                <a:lnTo>
                  <a:pt x="2857337" y="0"/>
                </a:lnTo>
                <a:lnTo>
                  <a:pt x="3428818" y="571481"/>
                </a:lnTo>
                <a:lnTo>
                  <a:pt x="3428818" y="3430152"/>
                </a:lnTo>
                <a:lnTo>
                  <a:pt x="571482" y="3430152"/>
                </a:lnTo>
                <a:lnTo>
                  <a:pt x="0" y="28586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pic>
        <p:nvPicPr>
          <p:cNvPr id="10" name="Picture Placeholder 42" descr="Red ad gree bar graphs and numbers above the city skyline">
            <a:extLst>
              <a:ext uri="{FF2B5EF4-FFF2-40B4-BE49-F238E27FC236}">
                <a16:creationId xmlns:a16="http://schemas.microsoft.com/office/drawing/2014/main" id="{ADC47AB9-09C2-F473-EEB7-7C3B7E80A3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2" r="13072"/>
          <a:stretch>
            <a:fillRect/>
          </a:stretch>
        </p:blipFill>
        <p:spPr>
          <a:xfrm>
            <a:off x="3818562" y="-3430152"/>
            <a:ext cx="3428818" cy="3430152"/>
          </a:xfrm>
          <a:custGeom>
            <a:avLst/>
            <a:gdLst>
              <a:gd name="connsiteX0" fmla="*/ 0 w 3428818"/>
              <a:gd name="connsiteY0" fmla="*/ 0 h 3430152"/>
              <a:gd name="connsiteX1" fmla="*/ 2857337 w 3428818"/>
              <a:gd name="connsiteY1" fmla="*/ 0 h 3430152"/>
              <a:gd name="connsiteX2" fmla="*/ 3428818 w 3428818"/>
              <a:gd name="connsiteY2" fmla="*/ 571481 h 3430152"/>
              <a:gd name="connsiteX3" fmla="*/ 3428818 w 3428818"/>
              <a:gd name="connsiteY3" fmla="*/ 3430152 h 3430152"/>
              <a:gd name="connsiteX4" fmla="*/ 571482 w 3428818"/>
              <a:gd name="connsiteY4" fmla="*/ 3430152 h 3430152"/>
              <a:gd name="connsiteX5" fmla="*/ 0 w 3428818"/>
              <a:gd name="connsiteY5" fmla="*/ 2858671 h 3430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28818" h="3430152">
                <a:moveTo>
                  <a:pt x="0" y="0"/>
                </a:moveTo>
                <a:lnTo>
                  <a:pt x="2857337" y="0"/>
                </a:lnTo>
                <a:lnTo>
                  <a:pt x="3428818" y="571481"/>
                </a:lnTo>
                <a:lnTo>
                  <a:pt x="3428818" y="3430152"/>
                </a:lnTo>
                <a:lnTo>
                  <a:pt x="571482" y="3430152"/>
                </a:lnTo>
                <a:lnTo>
                  <a:pt x="0" y="28586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5557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0.00231 L 3.95833E-6 0.75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38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0.0044 L -1.04167E-6 0.75116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7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sad">
  <a:themeElements>
    <a:clrScheme name="col">
      <a:dk1>
        <a:srgbClr val="000000"/>
      </a:dk1>
      <a:lt1>
        <a:srgbClr val="FFFFFF"/>
      </a:lt1>
      <a:dk2>
        <a:srgbClr val="2D3847"/>
      </a:dk2>
      <a:lt2>
        <a:srgbClr val="E7E6E6"/>
      </a:lt2>
      <a:accent1>
        <a:srgbClr val="FF0000"/>
      </a:accent1>
      <a:accent2>
        <a:srgbClr val="BF0000"/>
      </a:accent2>
      <a:accent3>
        <a:srgbClr val="1F262A"/>
      </a:accent3>
      <a:accent4>
        <a:srgbClr val="2A3439"/>
      </a:accent4>
      <a:accent5>
        <a:srgbClr val="5B676D"/>
      </a:accent5>
      <a:accent6>
        <a:srgbClr val="848689"/>
      </a:accent6>
      <a:hlink>
        <a:srgbClr val="0563C1"/>
      </a:hlink>
      <a:folHlink>
        <a:srgbClr val="954F72"/>
      </a:folHlink>
    </a:clrScheme>
    <a:fontScheme name="Custom 158">
      <a:majorFont>
        <a:latin typeface="Jura"/>
        <a:ea typeface=""/>
        <a:cs typeface=""/>
      </a:majorFont>
      <a:minorFont>
        <a:latin typeface="Ju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d" id="{FBFBA523-A009-4028-8DDF-FB3A2E357E07}" vid="{0C5D15C7-206E-4396-8ECB-27FC35DE6C8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5EC4FAED17FD4FA002B715A7CB3129" ma:contentTypeVersion="19" ma:contentTypeDescription="Create a new document." ma:contentTypeScope="" ma:versionID="0f295b4eaac5758ed5fac4959b75d881">
  <xsd:schema xmlns:xsd="http://www.w3.org/2001/XMLSchema" xmlns:xs="http://www.w3.org/2001/XMLSchema" xmlns:p="http://schemas.microsoft.com/office/2006/metadata/properties" xmlns:ns2="92e4be8c-5aca-45ec-8e17-deab1f90d7c8" xmlns:ns3="92b31412-8c8f-44f1-a883-141cef3f34cc" targetNamespace="http://schemas.microsoft.com/office/2006/metadata/properties" ma:root="true" ma:fieldsID="57dd884e41ecc57e715e77a3a1c4b2cc" ns2:_="" ns3:_="">
    <xsd:import namespace="92e4be8c-5aca-45ec-8e17-deab1f90d7c8"/>
    <xsd:import namespace="92b31412-8c8f-44f1-a883-141cef3f34c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Duration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4be8c-5aca-45ec-8e17-deab1f90d7c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795d2f5-1cbf-45cb-9409-0dc909a94953}" ma:internalName="TaxCatchAll" ma:showField="CatchAllData" ma:web="92e4be8c-5aca-45ec-8e17-deab1f90d7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b31412-8c8f-44f1-a883-141cef3f34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uration" ma:index="19" nillable="true" ma:displayName="Duration" ma:internalName="Duration">
      <xsd:simpleType>
        <xsd:restriction base="dms:Text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4206cbd-ed67-49c0-b8a0-af32ee4f26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b31412-8c8f-44f1-a883-141cef3f34cc">
      <Terms xmlns="http://schemas.microsoft.com/office/infopath/2007/PartnerControls"/>
    </lcf76f155ced4ddcb4097134ff3c332f>
    <TaxCatchAll xmlns="92e4be8c-5aca-45ec-8e17-deab1f90d7c8" xsi:nil="true"/>
    <Duration xmlns="92b31412-8c8f-44f1-a883-141cef3f34cc" xsi:nil="true"/>
  </documentManagement>
</p:properties>
</file>

<file path=customXml/itemProps1.xml><?xml version="1.0" encoding="utf-8"?>
<ds:datastoreItem xmlns:ds="http://schemas.openxmlformats.org/officeDocument/2006/customXml" ds:itemID="{FA395DF7-E89A-41A7-8979-54D7DDDFB2CA}"/>
</file>

<file path=customXml/itemProps2.xml><?xml version="1.0" encoding="utf-8"?>
<ds:datastoreItem xmlns:ds="http://schemas.openxmlformats.org/officeDocument/2006/customXml" ds:itemID="{E352F5B6-97F3-4CF1-AFF1-C18984C81859}"/>
</file>

<file path=customXml/itemProps3.xml><?xml version="1.0" encoding="utf-8"?>
<ds:datastoreItem xmlns:ds="http://schemas.openxmlformats.org/officeDocument/2006/customXml" ds:itemID="{98DF3A35-C66C-4C43-BFA1-C3578A224F0E}"/>
</file>

<file path=docProps/app.xml><?xml version="1.0" encoding="utf-8"?>
<Properties xmlns="http://schemas.openxmlformats.org/officeDocument/2006/extended-properties" xmlns:vt="http://schemas.openxmlformats.org/officeDocument/2006/docPropsVTypes">
  <TotalTime>54</TotalTime>
  <Words>99</Words>
  <Application>Microsoft Office PowerPoint</Application>
  <PresentationFormat>Widescreen</PresentationFormat>
  <Paragraphs>43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Jura</vt:lpstr>
      <vt:lpstr>Roboto</vt:lpstr>
      <vt:lpstr>sa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P</dc:creator>
  <cp:lastModifiedBy>Andrew P</cp:lastModifiedBy>
  <cp:revision>9</cp:revision>
  <dcterms:created xsi:type="dcterms:W3CDTF">2024-01-18T10:44:19Z</dcterms:created>
  <dcterms:modified xsi:type="dcterms:W3CDTF">2024-02-22T06:5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5EC4FAED17FD4FA002B715A7CB3129</vt:lpwstr>
  </property>
</Properties>
</file>